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4"/>
  </p:notesMasterIdLst>
  <p:sldIdLst>
    <p:sldId id="256" r:id="rId2"/>
    <p:sldId id="258" r:id="rId3"/>
    <p:sldId id="270" r:id="rId4"/>
    <p:sldId id="276" r:id="rId5"/>
    <p:sldId id="272" r:id="rId6"/>
    <p:sldId id="273" r:id="rId7"/>
    <p:sldId id="277" r:id="rId8"/>
    <p:sldId id="303" r:id="rId9"/>
    <p:sldId id="283" r:id="rId10"/>
    <p:sldId id="284" r:id="rId11"/>
    <p:sldId id="293" r:id="rId12"/>
    <p:sldId id="294" r:id="rId13"/>
    <p:sldId id="280" r:id="rId14"/>
    <p:sldId id="274" r:id="rId15"/>
    <p:sldId id="279" r:id="rId16"/>
    <p:sldId id="298" r:id="rId17"/>
    <p:sldId id="297" r:id="rId18"/>
    <p:sldId id="299" r:id="rId19"/>
    <p:sldId id="300" r:id="rId20"/>
    <p:sldId id="301" r:id="rId21"/>
    <p:sldId id="282" r:id="rId22"/>
    <p:sldId id="302" r:id="rId23"/>
    <p:sldId id="278" r:id="rId24"/>
    <p:sldId id="295" r:id="rId25"/>
    <p:sldId id="296" r:id="rId26"/>
    <p:sldId id="275" r:id="rId27"/>
    <p:sldId id="285" r:id="rId28"/>
    <p:sldId id="286" r:id="rId29"/>
    <p:sldId id="287" r:id="rId30"/>
    <p:sldId id="288" r:id="rId31"/>
    <p:sldId id="289" r:id="rId32"/>
    <p:sldId id="261" r:id="rId33"/>
  </p:sldIdLst>
  <p:sldSz cx="9144000" cy="6858000" type="screen4x3"/>
  <p:notesSz cx="6858000" cy="9144000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CEAC"/>
    <a:srgbClr val="07586C"/>
    <a:srgbClr val="307C89"/>
    <a:srgbClr val="78CFC3"/>
    <a:srgbClr val="76B7B1"/>
    <a:srgbClr val="3CA5A8"/>
    <a:srgbClr val="80B5C6"/>
    <a:srgbClr val="287D92"/>
    <a:srgbClr val="9CDCD4"/>
    <a:srgbClr val="B9E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49" autoAdjust="0"/>
    <p:restoredTop sz="88054" autoAdjust="0"/>
  </p:normalViewPr>
  <p:slideViewPr>
    <p:cSldViewPr snapToGrid="0">
      <p:cViewPr varScale="1">
        <p:scale>
          <a:sx n="59" d="100"/>
          <a:sy n="59" d="100"/>
        </p:scale>
        <p:origin x="1256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7FC85E-7AA5-410C-8B1D-20CBBC42FFF1}" type="doc">
      <dgm:prSet loTypeId="urn:microsoft.com/office/officeart/2005/8/layout/vList5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zh-CN" altLang="en-US"/>
        </a:p>
      </dgm:t>
    </dgm:pt>
    <dgm:pt modelId="{4E3FFE83-1586-4234-AA93-22298C7429E2}">
      <dgm:prSet phldrT="[文本]"/>
      <dgm:spPr/>
      <dgm:t>
        <a:bodyPr/>
        <a:lstStyle/>
        <a:p>
          <a:r>
            <a:rPr lang="en-US" b="1" i="0" dirty="0" err="1"/>
            <a:t>Microsoft.Extensions</a:t>
          </a:r>
          <a:r>
            <a:rPr lang="en-US" b="1" i="0" dirty="0"/>
            <a:t> .</a:t>
          </a:r>
          <a:r>
            <a:rPr lang="en-US" b="1" i="0" dirty="0" err="1"/>
            <a:t>Identity.Core</a:t>
          </a:r>
          <a:endParaRPr lang="zh-CN" altLang="en-US" dirty="0"/>
        </a:p>
      </dgm:t>
    </dgm:pt>
    <dgm:pt modelId="{FF0D7AD0-F978-4B1C-982C-AF15EB522C9A}" type="parTrans" cxnId="{5BEF5A18-CCC1-4E09-9F3C-B62EAA332FEC}">
      <dgm:prSet/>
      <dgm:spPr/>
      <dgm:t>
        <a:bodyPr/>
        <a:lstStyle/>
        <a:p>
          <a:endParaRPr lang="zh-CN" altLang="en-US"/>
        </a:p>
      </dgm:t>
    </dgm:pt>
    <dgm:pt modelId="{DCECB662-4BDA-48CB-912F-650C6305ADFC}" type="sibTrans" cxnId="{5BEF5A18-CCC1-4E09-9F3C-B62EAA332FEC}">
      <dgm:prSet/>
      <dgm:spPr/>
      <dgm:t>
        <a:bodyPr/>
        <a:lstStyle/>
        <a:p>
          <a:endParaRPr lang="zh-CN" altLang="en-US"/>
        </a:p>
      </dgm:t>
    </dgm:pt>
    <dgm:pt modelId="{4CFB34DA-35AB-4178-9E5D-19D687E0BB46}">
      <dgm:prSet phldrT="[文本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zh-CN" altLang="en-US" b="0" i="0" dirty="0"/>
            <a:t>该程序集包含了整个 </a:t>
          </a:r>
          <a:r>
            <a:rPr lang="en-US" b="0" i="0" dirty="0" err="1"/>
            <a:t>IdentityCore</a:t>
          </a:r>
          <a:r>
            <a:rPr lang="en-US" b="0" i="0" dirty="0"/>
            <a:t> </a:t>
          </a:r>
          <a:r>
            <a:rPr lang="zh-CN" altLang="en-US" b="0" i="0" dirty="0"/>
            <a:t>框架的实体定义，大致包含 </a:t>
          </a:r>
          <a:r>
            <a:rPr lang="en-US" b="0" i="0" dirty="0" err="1"/>
            <a:t>IdentityUser</a:t>
          </a:r>
          <a:r>
            <a:rPr lang="en-US" b="0" i="0" dirty="0"/>
            <a:t>(</a:t>
          </a:r>
          <a:r>
            <a:rPr lang="zh-CN" altLang="en-US" b="0" i="0" dirty="0"/>
            <a:t>用户</a:t>
          </a:r>
          <a:r>
            <a:rPr lang="en-US" altLang="zh-CN" b="0" i="0" dirty="0"/>
            <a:t>) </a:t>
          </a:r>
          <a:r>
            <a:rPr lang="en-US" b="0" i="0" dirty="0" err="1"/>
            <a:t>IdentityRole</a:t>
          </a:r>
          <a:r>
            <a:rPr lang="en-US" b="0" i="0" dirty="0"/>
            <a:t> (</a:t>
          </a:r>
          <a:r>
            <a:rPr lang="zh-CN" altLang="en-US" b="0" i="0" dirty="0"/>
            <a:t>角色</a:t>
          </a:r>
          <a:r>
            <a:rPr lang="en-US" altLang="zh-CN" b="0" i="0" dirty="0"/>
            <a:t>) </a:t>
          </a:r>
          <a:r>
            <a:rPr lang="en-US" b="0" i="0" dirty="0" err="1"/>
            <a:t>IdentityUserRole</a:t>
          </a:r>
          <a:r>
            <a:rPr lang="en-US" b="0" i="0" dirty="0"/>
            <a:t>(</a:t>
          </a:r>
          <a:r>
            <a:rPr lang="zh-CN" altLang="en-US" b="0" i="0" dirty="0"/>
            <a:t>用户与角色的关联</a:t>
          </a:r>
          <a:r>
            <a:rPr lang="en-US" altLang="zh-CN" b="0" i="0" dirty="0"/>
            <a:t>) </a:t>
          </a:r>
          <a:r>
            <a:rPr lang="en-US" b="0" i="0" dirty="0" err="1"/>
            <a:t>IdentityUserClaim</a:t>
          </a:r>
          <a:r>
            <a:rPr lang="en-US" b="0" i="0" dirty="0"/>
            <a:t>(</a:t>
          </a:r>
          <a:r>
            <a:rPr lang="zh-CN" altLang="en-US" b="0" i="0" dirty="0"/>
            <a:t>用户的声明</a:t>
          </a:r>
          <a:r>
            <a:rPr lang="en-US" altLang="zh-CN" b="0" i="0" dirty="0"/>
            <a:t>) </a:t>
          </a:r>
          <a:r>
            <a:rPr lang="en-US" b="0" i="0" dirty="0" err="1"/>
            <a:t>IdentityRoleClaim</a:t>
          </a:r>
          <a:r>
            <a:rPr lang="en-US" b="0" i="0" dirty="0"/>
            <a:t>(</a:t>
          </a:r>
          <a:r>
            <a:rPr lang="zh-CN" altLang="en-US" b="0" i="0" dirty="0"/>
            <a:t>角色的声明</a:t>
          </a:r>
          <a:r>
            <a:rPr lang="en-US" altLang="zh-CN" b="0" i="0" dirty="0"/>
            <a:t>) </a:t>
          </a:r>
          <a:r>
            <a:rPr lang="en-US" b="0" i="0" dirty="0" err="1"/>
            <a:t>IdentityUserLogin</a:t>
          </a:r>
          <a:r>
            <a:rPr lang="en-US" b="0" i="0" dirty="0"/>
            <a:t>(</a:t>
          </a:r>
          <a:r>
            <a:rPr lang="zh-CN" altLang="en-US" b="0" i="0" dirty="0"/>
            <a:t>用户第三方登录</a:t>
          </a:r>
          <a:r>
            <a:rPr lang="en-US" altLang="zh-CN" b="0" i="0" dirty="0"/>
            <a:t>) </a:t>
          </a:r>
          <a:r>
            <a:rPr lang="zh-CN" altLang="en-US" b="0" i="0" dirty="0"/>
            <a:t>，与数据库的表相对应。</a:t>
          </a:r>
          <a:endParaRPr lang="zh-CN" altLang="en-US" dirty="0"/>
        </a:p>
      </dgm:t>
    </dgm:pt>
    <dgm:pt modelId="{4156E0AC-C28B-4EAE-93EC-6356D84D54C8}" type="parTrans" cxnId="{6E5450B1-2CBD-4E2C-A861-41EB98C1C92B}">
      <dgm:prSet/>
      <dgm:spPr/>
      <dgm:t>
        <a:bodyPr/>
        <a:lstStyle/>
        <a:p>
          <a:endParaRPr lang="zh-CN" altLang="en-US"/>
        </a:p>
      </dgm:t>
    </dgm:pt>
    <dgm:pt modelId="{F12AA1D8-F88E-4CDD-8537-809346E0036D}" type="sibTrans" cxnId="{6E5450B1-2CBD-4E2C-A861-41EB98C1C92B}">
      <dgm:prSet/>
      <dgm:spPr/>
      <dgm:t>
        <a:bodyPr/>
        <a:lstStyle/>
        <a:p>
          <a:endParaRPr lang="zh-CN" altLang="en-US"/>
        </a:p>
      </dgm:t>
    </dgm:pt>
    <dgm:pt modelId="{A32A1B5C-E05C-49F0-9878-78345C670D35}">
      <dgm:prSet phldrT="[文本]"/>
      <dgm:spPr/>
      <dgm:t>
        <a:bodyPr/>
        <a:lstStyle/>
        <a:p>
          <a:r>
            <a:rPr lang="en-US" b="1" i="0" dirty="0" err="1"/>
            <a:t>Microsoft.Extensions</a:t>
          </a:r>
          <a:r>
            <a:rPr lang="en-US" b="1" i="0" dirty="0"/>
            <a:t> .</a:t>
          </a:r>
          <a:r>
            <a:rPr lang="en-US" b="1" i="0" dirty="0" err="1"/>
            <a:t>Identity.Stores</a:t>
          </a:r>
          <a:endParaRPr lang="zh-CN" altLang="en-US" dirty="0"/>
        </a:p>
      </dgm:t>
    </dgm:pt>
    <dgm:pt modelId="{6A7CA938-E1C4-4136-A01B-0C14C75EC727}" type="parTrans" cxnId="{D47104A1-16C8-4C44-89AC-50FB64F69AC4}">
      <dgm:prSet/>
      <dgm:spPr/>
      <dgm:t>
        <a:bodyPr/>
        <a:lstStyle/>
        <a:p>
          <a:endParaRPr lang="zh-CN" altLang="en-US"/>
        </a:p>
      </dgm:t>
    </dgm:pt>
    <dgm:pt modelId="{47CFB966-24E3-40F2-A8B6-1AE1E38A28E9}" type="sibTrans" cxnId="{D47104A1-16C8-4C44-89AC-50FB64F69AC4}">
      <dgm:prSet/>
      <dgm:spPr/>
      <dgm:t>
        <a:bodyPr/>
        <a:lstStyle/>
        <a:p>
          <a:endParaRPr lang="zh-CN" altLang="en-US"/>
        </a:p>
      </dgm:t>
    </dgm:pt>
    <dgm:pt modelId="{118FF4EE-1AB9-4306-A214-7D625A0C1683}">
      <dgm:prSet phldrT="[文本]"/>
      <dgm:spPr/>
      <dgm:t>
        <a:bodyPr/>
        <a:lstStyle/>
        <a:p>
          <a:r>
            <a:rPr lang="zh-CN" altLang="en-US" b="0" i="0" dirty="0"/>
            <a:t>该程序主要用于对上面的实体进行基本的增删改查，包括用户管理（</a:t>
          </a:r>
          <a:r>
            <a:rPr lang="en-US" altLang="zh-CN" b="0" i="0" dirty="0" err="1"/>
            <a:t>UserManager</a:t>
          </a:r>
          <a:r>
            <a:rPr lang="zh-CN" altLang="en-US" b="0" i="0" dirty="0"/>
            <a:t>）和角色的管理</a:t>
          </a:r>
          <a:r>
            <a:rPr lang="en-US" altLang="zh-CN" b="0" i="0" dirty="0"/>
            <a:t>(</a:t>
          </a:r>
          <a:r>
            <a:rPr lang="en-US" altLang="zh-CN" b="0" i="0" dirty="0" err="1"/>
            <a:t>RoleManager</a:t>
          </a:r>
          <a:r>
            <a:rPr lang="en-US" altLang="zh-CN" b="0" i="0" dirty="0"/>
            <a:t>)</a:t>
          </a:r>
          <a:r>
            <a:rPr lang="zh-CN" altLang="en-US" b="0" i="0" dirty="0"/>
            <a:t>，以及一些可以进行的配置，比如用户名的限制、密码的验证等等。具体的存储实现需要下载其他的包</a:t>
          </a:r>
          <a:r>
            <a:rPr lang="en-US" altLang="zh-CN" b="0" i="0" dirty="0"/>
            <a:t>.</a:t>
          </a:r>
          <a:r>
            <a:rPr lang="zh-CN" altLang="en-US" b="0" i="0" dirty="0"/>
            <a:t>官方默认使用</a:t>
          </a:r>
          <a:r>
            <a:rPr lang="en-US" altLang="zh-CN" b="0" i="0" dirty="0"/>
            <a:t>EF Core </a:t>
          </a:r>
          <a:r>
            <a:rPr lang="zh-CN" altLang="en-US" b="0" i="0" dirty="0"/>
            <a:t>作为持久化库。</a:t>
          </a:r>
          <a:endParaRPr lang="zh-CN" altLang="en-US" dirty="0"/>
        </a:p>
      </dgm:t>
    </dgm:pt>
    <dgm:pt modelId="{3A5CF11E-8D3D-49C4-8387-A665C4D2BAD0}" type="parTrans" cxnId="{1629BA1F-1319-4D82-BC9B-115C14F79C7A}">
      <dgm:prSet/>
      <dgm:spPr/>
      <dgm:t>
        <a:bodyPr/>
        <a:lstStyle/>
        <a:p>
          <a:endParaRPr lang="zh-CN" altLang="en-US"/>
        </a:p>
      </dgm:t>
    </dgm:pt>
    <dgm:pt modelId="{54B42889-D107-4B39-A431-AE52D68D8FF1}" type="sibTrans" cxnId="{1629BA1F-1319-4D82-BC9B-115C14F79C7A}">
      <dgm:prSet/>
      <dgm:spPr/>
      <dgm:t>
        <a:bodyPr/>
        <a:lstStyle/>
        <a:p>
          <a:endParaRPr lang="zh-CN" altLang="en-US"/>
        </a:p>
      </dgm:t>
    </dgm:pt>
    <dgm:pt modelId="{9E5394DE-D924-4412-930E-DD74432FFBE9}">
      <dgm:prSet phldrT="[文本]"/>
      <dgm:spPr/>
      <dgm:t>
        <a:bodyPr/>
        <a:lstStyle/>
        <a:p>
          <a:r>
            <a:rPr lang="en-US" b="1" i="0" dirty="0" err="1"/>
            <a:t>Microsoft.AspNetCore</a:t>
          </a:r>
          <a:r>
            <a:rPr lang="en-US" b="1" i="0" dirty="0"/>
            <a:t>. Identity</a:t>
          </a:r>
          <a:endParaRPr lang="zh-CN" altLang="en-US" dirty="0"/>
        </a:p>
      </dgm:t>
    </dgm:pt>
    <dgm:pt modelId="{CFE2A128-674F-487B-B673-1BF6E0C4001E}" type="parTrans" cxnId="{2B82CBB7-81F5-44E9-9791-5FE97C99EF89}">
      <dgm:prSet/>
      <dgm:spPr/>
      <dgm:t>
        <a:bodyPr/>
        <a:lstStyle/>
        <a:p>
          <a:endParaRPr lang="zh-CN" altLang="en-US"/>
        </a:p>
      </dgm:t>
    </dgm:pt>
    <dgm:pt modelId="{A47E11E4-1505-4B68-8F2F-6C700122B2FE}" type="sibTrans" cxnId="{2B82CBB7-81F5-44E9-9791-5FE97C99EF89}">
      <dgm:prSet/>
      <dgm:spPr/>
      <dgm:t>
        <a:bodyPr/>
        <a:lstStyle/>
        <a:p>
          <a:endParaRPr lang="zh-CN" altLang="en-US"/>
        </a:p>
      </dgm:t>
    </dgm:pt>
    <dgm:pt modelId="{C6BD4EF4-E114-4BA7-B5B3-1D56BBCB2DB5}">
      <dgm:prSet phldrT="[文本]"/>
      <dgm:spPr/>
      <dgm:t>
        <a:bodyPr/>
        <a:lstStyle/>
        <a:p>
          <a:r>
            <a:rPr lang="zh-CN" altLang="en-US" b="0" i="0" dirty="0"/>
            <a:t>该程序集用于在 </a:t>
          </a:r>
          <a:r>
            <a:rPr lang="en-US" altLang="zh-CN" b="0" i="0" dirty="0" err="1"/>
            <a:t>AspNetCore</a:t>
          </a:r>
          <a:r>
            <a:rPr lang="en-US" altLang="zh-CN" b="0" i="0" dirty="0"/>
            <a:t> </a:t>
          </a:r>
          <a:r>
            <a:rPr lang="zh-CN" altLang="en-US" b="0" i="0" dirty="0"/>
            <a:t>的项目中对认证和授权进行管理，也包括了对于 </a:t>
          </a:r>
          <a:r>
            <a:rPr lang="en-US" altLang="zh-CN" b="0" i="0" dirty="0" err="1"/>
            <a:t>AspNetCore</a:t>
          </a:r>
          <a:r>
            <a:rPr lang="en-US" altLang="zh-CN" b="0" i="0" dirty="0"/>
            <a:t> </a:t>
          </a:r>
          <a:r>
            <a:rPr lang="zh-CN" altLang="en-US" b="0" i="0" dirty="0"/>
            <a:t>项目中</a:t>
          </a:r>
          <a:r>
            <a:rPr lang="en-US" altLang="zh-CN" b="0" i="0" dirty="0"/>
            <a:t>identity</a:t>
          </a:r>
          <a:r>
            <a:rPr lang="zh-CN" altLang="en-US" b="0" i="0" dirty="0"/>
            <a:t>的基本配置</a:t>
          </a:r>
          <a:endParaRPr lang="zh-CN" altLang="en-US" dirty="0"/>
        </a:p>
      </dgm:t>
    </dgm:pt>
    <dgm:pt modelId="{7B803E4A-A1B9-4677-9357-BF51DA6A5C44}" type="parTrans" cxnId="{551C172E-DB88-4AED-917A-75D38D70CC65}">
      <dgm:prSet/>
      <dgm:spPr/>
      <dgm:t>
        <a:bodyPr/>
        <a:lstStyle/>
        <a:p>
          <a:endParaRPr lang="zh-CN" altLang="en-US"/>
        </a:p>
      </dgm:t>
    </dgm:pt>
    <dgm:pt modelId="{D5C5ED92-5990-434C-AF29-60148EE8125F}" type="sibTrans" cxnId="{551C172E-DB88-4AED-917A-75D38D70CC65}">
      <dgm:prSet/>
      <dgm:spPr/>
      <dgm:t>
        <a:bodyPr/>
        <a:lstStyle/>
        <a:p>
          <a:endParaRPr lang="zh-CN" altLang="en-US"/>
        </a:p>
      </dgm:t>
    </dgm:pt>
    <dgm:pt modelId="{486BF50C-2971-471E-9307-BFFF1F6E720A}" type="pres">
      <dgm:prSet presAssocID="{F57FC85E-7AA5-410C-8B1D-20CBBC42FFF1}" presName="Name0" presStyleCnt="0">
        <dgm:presLayoutVars>
          <dgm:dir/>
          <dgm:animLvl val="lvl"/>
          <dgm:resizeHandles val="exact"/>
        </dgm:presLayoutVars>
      </dgm:prSet>
      <dgm:spPr/>
    </dgm:pt>
    <dgm:pt modelId="{BEB49123-77F2-450F-9BEF-B75EDD86EC1E}" type="pres">
      <dgm:prSet presAssocID="{4E3FFE83-1586-4234-AA93-22298C7429E2}" presName="linNode" presStyleCnt="0"/>
      <dgm:spPr/>
    </dgm:pt>
    <dgm:pt modelId="{F13EE028-EBF1-4721-8C46-D9A479F0E0EB}" type="pres">
      <dgm:prSet presAssocID="{4E3FFE83-1586-4234-AA93-22298C7429E2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A71C32CF-F34E-46F8-BD74-C4082CB88006}" type="pres">
      <dgm:prSet presAssocID="{4E3FFE83-1586-4234-AA93-22298C7429E2}" presName="descendantText" presStyleLbl="alignAccFollowNode1" presStyleIdx="0" presStyleCnt="3">
        <dgm:presLayoutVars>
          <dgm:bulletEnabled val="1"/>
        </dgm:presLayoutVars>
      </dgm:prSet>
      <dgm:spPr/>
    </dgm:pt>
    <dgm:pt modelId="{004FDFA4-AA7C-4D8D-8FEB-BC078D22732B}" type="pres">
      <dgm:prSet presAssocID="{DCECB662-4BDA-48CB-912F-650C6305ADFC}" presName="sp" presStyleCnt="0"/>
      <dgm:spPr/>
    </dgm:pt>
    <dgm:pt modelId="{2B43B9FF-E462-4964-B4F2-F8FD6997EA1B}" type="pres">
      <dgm:prSet presAssocID="{A32A1B5C-E05C-49F0-9878-78345C670D35}" presName="linNode" presStyleCnt="0"/>
      <dgm:spPr/>
    </dgm:pt>
    <dgm:pt modelId="{1815066F-720D-4D0D-8001-AB151D12E064}" type="pres">
      <dgm:prSet presAssocID="{A32A1B5C-E05C-49F0-9878-78345C670D35}" presName="parentText" presStyleLbl="node1" presStyleIdx="1" presStyleCnt="3" custLinFactNeighborX="-15">
        <dgm:presLayoutVars>
          <dgm:chMax val="1"/>
          <dgm:bulletEnabled val="1"/>
        </dgm:presLayoutVars>
      </dgm:prSet>
      <dgm:spPr/>
    </dgm:pt>
    <dgm:pt modelId="{059090CB-D651-4F09-8E20-5A3CCE233E95}" type="pres">
      <dgm:prSet presAssocID="{A32A1B5C-E05C-49F0-9878-78345C670D35}" presName="descendantText" presStyleLbl="alignAccFollowNode1" presStyleIdx="1" presStyleCnt="3">
        <dgm:presLayoutVars>
          <dgm:bulletEnabled val="1"/>
        </dgm:presLayoutVars>
      </dgm:prSet>
      <dgm:spPr/>
    </dgm:pt>
    <dgm:pt modelId="{F117527E-CCBC-4D8C-93B0-06FC8E4E62CB}" type="pres">
      <dgm:prSet presAssocID="{47CFB966-24E3-40F2-A8B6-1AE1E38A28E9}" presName="sp" presStyleCnt="0"/>
      <dgm:spPr/>
    </dgm:pt>
    <dgm:pt modelId="{A2A7B04E-2F97-473B-89CF-29E78E05925A}" type="pres">
      <dgm:prSet presAssocID="{9E5394DE-D924-4412-930E-DD74432FFBE9}" presName="linNode" presStyleCnt="0"/>
      <dgm:spPr/>
    </dgm:pt>
    <dgm:pt modelId="{B3D489F7-D2FC-4CA4-8738-1118C8807EB2}" type="pres">
      <dgm:prSet presAssocID="{9E5394DE-D924-4412-930E-DD74432FFBE9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EC23FA18-6090-47EE-9CA6-E9A63AA20CA4}" type="pres">
      <dgm:prSet presAssocID="{9E5394DE-D924-4412-930E-DD74432FFBE9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5BEF5A18-CCC1-4E09-9F3C-B62EAA332FEC}" srcId="{F57FC85E-7AA5-410C-8B1D-20CBBC42FFF1}" destId="{4E3FFE83-1586-4234-AA93-22298C7429E2}" srcOrd="0" destOrd="0" parTransId="{FF0D7AD0-F978-4B1C-982C-AF15EB522C9A}" sibTransId="{DCECB662-4BDA-48CB-912F-650C6305ADFC}"/>
    <dgm:cxn modelId="{1629BA1F-1319-4D82-BC9B-115C14F79C7A}" srcId="{A32A1B5C-E05C-49F0-9878-78345C670D35}" destId="{118FF4EE-1AB9-4306-A214-7D625A0C1683}" srcOrd="0" destOrd="0" parTransId="{3A5CF11E-8D3D-49C4-8387-A665C4D2BAD0}" sibTransId="{54B42889-D107-4B39-A431-AE52D68D8FF1}"/>
    <dgm:cxn modelId="{5A588E28-2F3C-4B0D-83C2-B96985430B32}" type="presOf" srcId="{4CFB34DA-35AB-4178-9E5D-19D687E0BB46}" destId="{A71C32CF-F34E-46F8-BD74-C4082CB88006}" srcOrd="0" destOrd="0" presId="urn:microsoft.com/office/officeart/2005/8/layout/vList5"/>
    <dgm:cxn modelId="{551C172E-DB88-4AED-917A-75D38D70CC65}" srcId="{9E5394DE-D924-4412-930E-DD74432FFBE9}" destId="{C6BD4EF4-E114-4BA7-B5B3-1D56BBCB2DB5}" srcOrd="0" destOrd="0" parTransId="{7B803E4A-A1B9-4677-9357-BF51DA6A5C44}" sibTransId="{D5C5ED92-5990-434C-AF29-60148EE8125F}"/>
    <dgm:cxn modelId="{ED5CA46D-A080-44D5-B3CC-FEC76DA92DC9}" type="presOf" srcId="{F57FC85E-7AA5-410C-8B1D-20CBBC42FFF1}" destId="{486BF50C-2971-471E-9307-BFFF1F6E720A}" srcOrd="0" destOrd="0" presId="urn:microsoft.com/office/officeart/2005/8/layout/vList5"/>
    <dgm:cxn modelId="{2DF90D53-C5C1-40F3-9D8E-311B6BDF2556}" type="presOf" srcId="{A32A1B5C-E05C-49F0-9878-78345C670D35}" destId="{1815066F-720D-4D0D-8001-AB151D12E064}" srcOrd="0" destOrd="0" presId="urn:microsoft.com/office/officeart/2005/8/layout/vList5"/>
    <dgm:cxn modelId="{FDA95B87-AB6C-4F5E-8895-733B6736B6A3}" type="presOf" srcId="{9E5394DE-D924-4412-930E-DD74432FFBE9}" destId="{B3D489F7-D2FC-4CA4-8738-1118C8807EB2}" srcOrd="0" destOrd="0" presId="urn:microsoft.com/office/officeart/2005/8/layout/vList5"/>
    <dgm:cxn modelId="{5E0A4E8D-1A91-4438-B2B9-23B7E9E26B59}" type="presOf" srcId="{4E3FFE83-1586-4234-AA93-22298C7429E2}" destId="{F13EE028-EBF1-4721-8C46-D9A479F0E0EB}" srcOrd="0" destOrd="0" presId="urn:microsoft.com/office/officeart/2005/8/layout/vList5"/>
    <dgm:cxn modelId="{0B39EE94-114E-4B14-A22B-4F7957253ECA}" type="presOf" srcId="{118FF4EE-1AB9-4306-A214-7D625A0C1683}" destId="{059090CB-D651-4F09-8E20-5A3CCE233E95}" srcOrd="0" destOrd="0" presId="urn:microsoft.com/office/officeart/2005/8/layout/vList5"/>
    <dgm:cxn modelId="{D47104A1-16C8-4C44-89AC-50FB64F69AC4}" srcId="{F57FC85E-7AA5-410C-8B1D-20CBBC42FFF1}" destId="{A32A1B5C-E05C-49F0-9878-78345C670D35}" srcOrd="1" destOrd="0" parTransId="{6A7CA938-E1C4-4136-A01B-0C14C75EC727}" sibTransId="{47CFB966-24E3-40F2-A8B6-1AE1E38A28E9}"/>
    <dgm:cxn modelId="{6E5450B1-2CBD-4E2C-A861-41EB98C1C92B}" srcId="{4E3FFE83-1586-4234-AA93-22298C7429E2}" destId="{4CFB34DA-35AB-4178-9E5D-19D687E0BB46}" srcOrd="0" destOrd="0" parTransId="{4156E0AC-C28B-4EAE-93EC-6356D84D54C8}" sibTransId="{F12AA1D8-F88E-4CDD-8537-809346E0036D}"/>
    <dgm:cxn modelId="{A9AA55B1-31AF-41F6-8A73-461EADB51657}" type="presOf" srcId="{C6BD4EF4-E114-4BA7-B5B3-1D56BBCB2DB5}" destId="{EC23FA18-6090-47EE-9CA6-E9A63AA20CA4}" srcOrd="0" destOrd="0" presId="urn:microsoft.com/office/officeart/2005/8/layout/vList5"/>
    <dgm:cxn modelId="{2B82CBB7-81F5-44E9-9791-5FE97C99EF89}" srcId="{F57FC85E-7AA5-410C-8B1D-20CBBC42FFF1}" destId="{9E5394DE-D924-4412-930E-DD74432FFBE9}" srcOrd="2" destOrd="0" parTransId="{CFE2A128-674F-487B-B673-1BF6E0C4001E}" sibTransId="{A47E11E4-1505-4B68-8F2F-6C700122B2FE}"/>
    <dgm:cxn modelId="{54451EE8-405A-40FC-A8AD-E4624355EB19}" type="presParOf" srcId="{486BF50C-2971-471E-9307-BFFF1F6E720A}" destId="{BEB49123-77F2-450F-9BEF-B75EDD86EC1E}" srcOrd="0" destOrd="0" presId="urn:microsoft.com/office/officeart/2005/8/layout/vList5"/>
    <dgm:cxn modelId="{2A0EEC27-7BCD-4F8F-840E-383E111D5037}" type="presParOf" srcId="{BEB49123-77F2-450F-9BEF-B75EDD86EC1E}" destId="{F13EE028-EBF1-4721-8C46-D9A479F0E0EB}" srcOrd="0" destOrd="0" presId="urn:microsoft.com/office/officeart/2005/8/layout/vList5"/>
    <dgm:cxn modelId="{B24EF921-6D46-4E4C-A08B-0131395FA54F}" type="presParOf" srcId="{BEB49123-77F2-450F-9BEF-B75EDD86EC1E}" destId="{A71C32CF-F34E-46F8-BD74-C4082CB88006}" srcOrd="1" destOrd="0" presId="urn:microsoft.com/office/officeart/2005/8/layout/vList5"/>
    <dgm:cxn modelId="{70007A8C-D9B1-4086-A1A8-8698279B7480}" type="presParOf" srcId="{486BF50C-2971-471E-9307-BFFF1F6E720A}" destId="{004FDFA4-AA7C-4D8D-8FEB-BC078D22732B}" srcOrd="1" destOrd="0" presId="urn:microsoft.com/office/officeart/2005/8/layout/vList5"/>
    <dgm:cxn modelId="{14D26648-13BC-4D16-9CC6-C2DE7C1A9297}" type="presParOf" srcId="{486BF50C-2971-471E-9307-BFFF1F6E720A}" destId="{2B43B9FF-E462-4964-B4F2-F8FD6997EA1B}" srcOrd="2" destOrd="0" presId="urn:microsoft.com/office/officeart/2005/8/layout/vList5"/>
    <dgm:cxn modelId="{86542B47-A266-4786-AC18-87E8367C37CA}" type="presParOf" srcId="{2B43B9FF-E462-4964-B4F2-F8FD6997EA1B}" destId="{1815066F-720D-4D0D-8001-AB151D12E064}" srcOrd="0" destOrd="0" presId="urn:microsoft.com/office/officeart/2005/8/layout/vList5"/>
    <dgm:cxn modelId="{D9FE82BD-97BE-4905-A1E2-2D3479586E9D}" type="presParOf" srcId="{2B43B9FF-E462-4964-B4F2-F8FD6997EA1B}" destId="{059090CB-D651-4F09-8E20-5A3CCE233E95}" srcOrd="1" destOrd="0" presId="urn:microsoft.com/office/officeart/2005/8/layout/vList5"/>
    <dgm:cxn modelId="{88D468D9-8E0C-4B6F-8486-0D3B3228CD6A}" type="presParOf" srcId="{486BF50C-2971-471E-9307-BFFF1F6E720A}" destId="{F117527E-CCBC-4D8C-93B0-06FC8E4E62CB}" srcOrd="3" destOrd="0" presId="urn:microsoft.com/office/officeart/2005/8/layout/vList5"/>
    <dgm:cxn modelId="{B8F30A38-707A-4EB4-9D95-0B9B9E0ED42B}" type="presParOf" srcId="{486BF50C-2971-471E-9307-BFFF1F6E720A}" destId="{A2A7B04E-2F97-473B-89CF-29E78E05925A}" srcOrd="4" destOrd="0" presId="urn:microsoft.com/office/officeart/2005/8/layout/vList5"/>
    <dgm:cxn modelId="{4FCD6FB8-3A41-4981-B1E1-6588B24AE565}" type="presParOf" srcId="{A2A7B04E-2F97-473B-89CF-29E78E05925A}" destId="{B3D489F7-D2FC-4CA4-8738-1118C8807EB2}" srcOrd="0" destOrd="0" presId="urn:microsoft.com/office/officeart/2005/8/layout/vList5"/>
    <dgm:cxn modelId="{DC44FDD3-57FD-44C7-B08D-200DB2630EEA}" type="presParOf" srcId="{A2A7B04E-2F97-473B-89CF-29E78E05925A}" destId="{EC23FA18-6090-47EE-9CA6-E9A63AA20CA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3B1D23C-8A9F-4493-BF7A-E4C12871987F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zh-CN" altLang="en-US"/>
        </a:p>
      </dgm:t>
    </dgm:pt>
    <dgm:pt modelId="{1B0DFFD5-73C9-4795-8602-DEC03193FEA9}">
      <dgm:prSet phldrT="[文本]"/>
      <dgm:spPr/>
      <dgm:t>
        <a:bodyPr/>
        <a:lstStyle/>
        <a:p>
          <a:r>
            <a:rPr lang="en-US" altLang="zh-CN" dirty="0"/>
            <a:t>Claim</a:t>
          </a:r>
          <a:endParaRPr lang="zh-CN" altLang="en-US" dirty="0"/>
        </a:p>
      </dgm:t>
    </dgm:pt>
    <dgm:pt modelId="{9ED1DF1B-01ED-4707-B653-883DBDEE9205}" type="parTrans" cxnId="{6BB4B8C6-37DB-456F-AE1C-882A32C009BB}">
      <dgm:prSet/>
      <dgm:spPr/>
      <dgm:t>
        <a:bodyPr/>
        <a:lstStyle/>
        <a:p>
          <a:endParaRPr lang="zh-CN" altLang="en-US"/>
        </a:p>
      </dgm:t>
    </dgm:pt>
    <dgm:pt modelId="{2838D6DC-7FC4-41E6-B50E-FA6AF1473AA4}" type="sibTrans" cxnId="{6BB4B8C6-37DB-456F-AE1C-882A32C009BB}">
      <dgm:prSet/>
      <dgm:spPr/>
      <dgm:t>
        <a:bodyPr/>
        <a:lstStyle/>
        <a:p>
          <a:endParaRPr lang="zh-CN" altLang="en-US"/>
        </a:p>
      </dgm:t>
    </dgm:pt>
    <dgm:pt modelId="{1B09E61D-F95A-40DC-A5C2-6EBC3973D8A3}">
      <dgm:prSet phldrT="[文本]" custT="1"/>
      <dgm:spPr/>
      <dgm:t>
        <a:bodyPr/>
        <a:lstStyle/>
        <a:p>
          <a:r>
            <a:rPr lang="zh-CN" altLang="en-US" sz="1600" dirty="0"/>
            <a:t>一对键值对</a:t>
          </a:r>
        </a:p>
      </dgm:t>
    </dgm:pt>
    <dgm:pt modelId="{8C01FEC1-7C36-4437-80C4-6F67EA779B26}" type="parTrans" cxnId="{09957F62-CB6F-4091-807C-C8F138F27290}">
      <dgm:prSet/>
      <dgm:spPr/>
      <dgm:t>
        <a:bodyPr/>
        <a:lstStyle/>
        <a:p>
          <a:endParaRPr lang="zh-CN" altLang="en-US"/>
        </a:p>
      </dgm:t>
    </dgm:pt>
    <dgm:pt modelId="{000E5073-95EE-46A1-85B9-E0C2FC8DE689}" type="sibTrans" cxnId="{09957F62-CB6F-4091-807C-C8F138F27290}">
      <dgm:prSet/>
      <dgm:spPr/>
      <dgm:t>
        <a:bodyPr/>
        <a:lstStyle/>
        <a:p>
          <a:endParaRPr lang="zh-CN" altLang="en-US"/>
        </a:p>
      </dgm:t>
    </dgm:pt>
    <dgm:pt modelId="{10439249-EED4-4C65-953C-44BDC506A2C6}">
      <dgm:prSet phldrT="[文本]" custT="1"/>
      <dgm:spPr/>
      <dgm:t>
        <a:bodyPr/>
        <a:lstStyle/>
        <a:p>
          <a:r>
            <a:rPr lang="en-US" sz="1600" b="0" i="0" dirty="0" err="1"/>
            <a:t>ClaimType</a:t>
          </a:r>
          <a:r>
            <a:rPr lang="zh-CN" altLang="en-US" sz="1600" b="0" i="0" dirty="0"/>
            <a:t>为</a:t>
          </a:r>
          <a:r>
            <a:rPr lang="en-US" sz="1600" b="0" i="0" dirty="0" err="1"/>
            <a:t>Key，ClaimValue</a:t>
          </a:r>
          <a:r>
            <a:rPr lang="zh-CN" altLang="en-US" sz="1600" b="0" i="0" dirty="0"/>
            <a:t>为</a:t>
          </a:r>
          <a:r>
            <a:rPr lang="en-US" sz="1600" b="0" i="0" dirty="0"/>
            <a:t>Value</a:t>
          </a:r>
          <a:endParaRPr lang="zh-CN" altLang="en-US" sz="1600" dirty="0"/>
        </a:p>
      </dgm:t>
    </dgm:pt>
    <dgm:pt modelId="{A99D0B13-BB32-4047-8D7E-32F7778C3603}" type="parTrans" cxnId="{159E5EA1-B401-4C22-9BB2-5254C6100130}">
      <dgm:prSet/>
      <dgm:spPr/>
      <dgm:t>
        <a:bodyPr/>
        <a:lstStyle/>
        <a:p>
          <a:endParaRPr lang="zh-CN" altLang="en-US"/>
        </a:p>
      </dgm:t>
    </dgm:pt>
    <dgm:pt modelId="{7759A980-1F0E-4829-91BF-ACB9086C6C7F}" type="sibTrans" cxnId="{159E5EA1-B401-4C22-9BB2-5254C6100130}">
      <dgm:prSet/>
      <dgm:spPr/>
      <dgm:t>
        <a:bodyPr/>
        <a:lstStyle/>
        <a:p>
          <a:endParaRPr lang="zh-CN" altLang="en-US"/>
        </a:p>
      </dgm:t>
    </dgm:pt>
    <dgm:pt modelId="{511DA90A-1EC8-492F-9F1F-AC8A44B35201}">
      <dgm:prSet phldrT="[文本]"/>
      <dgm:spPr/>
      <dgm:t>
        <a:bodyPr/>
        <a:lstStyle/>
        <a:p>
          <a:r>
            <a:rPr lang="en-US" altLang="zh-CN" dirty="0" err="1"/>
            <a:t>ClaimsIdentity</a:t>
          </a:r>
          <a:endParaRPr lang="zh-CN" altLang="en-US" dirty="0"/>
        </a:p>
      </dgm:t>
    </dgm:pt>
    <dgm:pt modelId="{424C2DC5-A337-4693-94C5-E2D528EDF76C}" type="parTrans" cxnId="{1021E218-E939-49F6-AC84-8541D0D15EB0}">
      <dgm:prSet/>
      <dgm:spPr/>
      <dgm:t>
        <a:bodyPr/>
        <a:lstStyle/>
        <a:p>
          <a:endParaRPr lang="zh-CN" altLang="en-US"/>
        </a:p>
      </dgm:t>
    </dgm:pt>
    <dgm:pt modelId="{94B2BE11-2BBF-44AE-B0AE-A9BCAA506E2A}" type="sibTrans" cxnId="{1021E218-E939-49F6-AC84-8541D0D15EB0}">
      <dgm:prSet/>
      <dgm:spPr/>
      <dgm:t>
        <a:bodyPr/>
        <a:lstStyle/>
        <a:p>
          <a:endParaRPr lang="zh-CN" altLang="en-US"/>
        </a:p>
      </dgm:t>
    </dgm:pt>
    <dgm:pt modelId="{A683D37F-C87F-4AC5-9E2F-7A9203323536}">
      <dgm:prSet phldrT="[文本]"/>
      <dgm:spPr/>
      <dgm:t>
        <a:bodyPr/>
        <a:lstStyle/>
        <a:p>
          <a:r>
            <a:rPr lang="en-US" altLang="zh-CN" dirty="0" err="1"/>
            <a:t>ClaimsPrincipal</a:t>
          </a:r>
          <a:endParaRPr lang="zh-CN" altLang="en-US" dirty="0"/>
        </a:p>
      </dgm:t>
    </dgm:pt>
    <dgm:pt modelId="{082D9CA2-A574-459F-BB1F-A891DA3C33D6}" type="parTrans" cxnId="{3B6F8003-DAFF-4810-80A6-E2A24E1E9F27}">
      <dgm:prSet/>
      <dgm:spPr/>
      <dgm:t>
        <a:bodyPr/>
        <a:lstStyle/>
        <a:p>
          <a:endParaRPr lang="zh-CN" altLang="en-US"/>
        </a:p>
      </dgm:t>
    </dgm:pt>
    <dgm:pt modelId="{E056ABE9-01EE-425F-8A0D-89302A117DF6}" type="sibTrans" cxnId="{3B6F8003-DAFF-4810-80A6-E2A24E1E9F27}">
      <dgm:prSet/>
      <dgm:spPr/>
      <dgm:t>
        <a:bodyPr/>
        <a:lstStyle/>
        <a:p>
          <a:endParaRPr lang="zh-CN" altLang="en-US"/>
        </a:p>
      </dgm:t>
    </dgm:pt>
    <dgm:pt modelId="{16698C34-2ECB-436B-90F5-F1EBA72D91DD}">
      <dgm:prSet phldrT="[文本]" custT="1"/>
      <dgm:spPr/>
      <dgm:t>
        <a:bodyPr/>
        <a:lstStyle/>
        <a:p>
          <a:r>
            <a:rPr lang="en-US" altLang="zh-CN" sz="1600" dirty="0" err="1"/>
            <a:t>ClaimsIdentity</a:t>
          </a:r>
          <a:endParaRPr lang="zh-CN" altLang="en-US" sz="1600" dirty="0"/>
        </a:p>
      </dgm:t>
    </dgm:pt>
    <dgm:pt modelId="{90D768E0-9954-4957-A9F4-DA866BF1DEC3}" type="parTrans" cxnId="{F92B4D02-17BC-49C4-85CB-5F6B76F0F774}">
      <dgm:prSet/>
      <dgm:spPr/>
      <dgm:t>
        <a:bodyPr/>
        <a:lstStyle/>
        <a:p>
          <a:endParaRPr lang="zh-CN" altLang="en-US"/>
        </a:p>
      </dgm:t>
    </dgm:pt>
    <dgm:pt modelId="{4FB57261-CC03-410E-90AF-F2C77FF80DA7}" type="sibTrans" cxnId="{F92B4D02-17BC-49C4-85CB-5F6B76F0F774}">
      <dgm:prSet/>
      <dgm:spPr/>
      <dgm:t>
        <a:bodyPr/>
        <a:lstStyle/>
        <a:p>
          <a:endParaRPr lang="zh-CN" altLang="en-US"/>
        </a:p>
      </dgm:t>
    </dgm:pt>
    <dgm:pt modelId="{4B93B513-D7E3-4B4D-91B9-EA369BC67CEA}">
      <dgm:prSet phldrT="[文本]" custT="1"/>
      <dgm:spPr/>
      <dgm:t>
        <a:bodyPr/>
        <a:lstStyle/>
        <a:p>
          <a:r>
            <a:rPr lang="en-US" altLang="zh-CN" sz="1600" dirty="0"/>
            <a:t>“</a:t>
          </a:r>
          <a:r>
            <a:rPr lang="zh-CN" altLang="en-US" sz="1600" dirty="0"/>
            <a:t>证件单元</a:t>
          </a:r>
          <a:r>
            <a:rPr lang="en-US" altLang="zh-CN" sz="1600" dirty="0"/>
            <a:t>”</a:t>
          </a:r>
          <a:endParaRPr lang="zh-CN" altLang="en-US" sz="1600" dirty="0"/>
        </a:p>
      </dgm:t>
    </dgm:pt>
    <dgm:pt modelId="{599D8291-2137-47EF-A10A-17363F94CCBD}" type="parTrans" cxnId="{7CAF2FC1-4C14-4CF1-A168-2872239F3226}">
      <dgm:prSet/>
      <dgm:spPr/>
      <dgm:t>
        <a:bodyPr/>
        <a:lstStyle/>
        <a:p>
          <a:endParaRPr lang="zh-CN" altLang="en-US"/>
        </a:p>
      </dgm:t>
    </dgm:pt>
    <dgm:pt modelId="{82AD488B-80BA-4998-917D-3E400941715E}" type="sibTrans" cxnId="{7CAF2FC1-4C14-4CF1-A168-2872239F3226}">
      <dgm:prSet/>
      <dgm:spPr/>
      <dgm:t>
        <a:bodyPr/>
        <a:lstStyle/>
        <a:p>
          <a:endParaRPr lang="zh-CN" altLang="en-US"/>
        </a:p>
      </dgm:t>
    </dgm:pt>
    <dgm:pt modelId="{64692A47-7C11-47AE-8A02-0AB7564B7182}">
      <dgm:prSet phldrT="[文本]" custT="1"/>
      <dgm:spPr/>
      <dgm:t>
        <a:bodyPr/>
        <a:lstStyle/>
        <a:p>
          <a:r>
            <a:rPr lang="en-US" altLang="zh-CN" sz="1600" dirty="0"/>
            <a:t>“</a:t>
          </a:r>
          <a:r>
            <a:rPr lang="zh-CN" altLang="en-US" sz="1600" dirty="0"/>
            <a:t>证件</a:t>
          </a:r>
          <a:r>
            <a:rPr lang="en-US" altLang="zh-CN" sz="1600" dirty="0"/>
            <a:t>”</a:t>
          </a:r>
          <a:endParaRPr lang="zh-CN" altLang="en-US" sz="1600" dirty="0"/>
        </a:p>
      </dgm:t>
    </dgm:pt>
    <dgm:pt modelId="{B9421578-2596-4A92-B261-B939D43166B8}" type="parTrans" cxnId="{BE74B184-3125-4359-BCB7-C76A9E44EB43}">
      <dgm:prSet/>
      <dgm:spPr/>
      <dgm:t>
        <a:bodyPr/>
        <a:lstStyle/>
        <a:p>
          <a:endParaRPr lang="zh-CN" altLang="en-US"/>
        </a:p>
      </dgm:t>
    </dgm:pt>
    <dgm:pt modelId="{9C331833-55A9-41FD-A31A-C7A203EDBA42}" type="sibTrans" cxnId="{BE74B184-3125-4359-BCB7-C76A9E44EB43}">
      <dgm:prSet/>
      <dgm:spPr/>
      <dgm:t>
        <a:bodyPr/>
        <a:lstStyle/>
        <a:p>
          <a:endParaRPr lang="zh-CN" altLang="en-US"/>
        </a:p>
      </dgm:t>
    </dgm:pt>
    <dgm:pt modelId="{7E48F481-68F9-430B-9A48-A8BA43B17A3D}">
      <dgm:prSet phldrT="[文本]" custT="1"/>
      <dgm:spPr/>
      <dgm:t>
        <a:bodyPr/>
        <a:lstStyle/>
        <a:p>
          <a:r>
            <a:rPr lang="zh-CN" altLang="en-US" sz="1600" dirty="0"/>
            <a:t>“身份当事人”</a:t>
          </a:r>
        </a:p>
      </dgm:t>
    </dgm:pt>
    <dgm:pt modelId="{DF2C2A79-B9C9-4A29-B536-60C37EBD9210}" type="parTrans" cxnId="{6F1882A3-B4C7-4AAA-BF18-4EAD47C7E5EE}">
      <dgm:prSet/>
      <dgm:spPr/>
      <dgm:t>
        <a:bodyPr/>
        <a:lstStyle/>
        <a:p>
          <a:endParaRPr lang="zh-CN" altLang="en-US"/>
        </a:p>
      </dgm:t>
    </dgm:pt>
    <dgm:pt modelId="{C0261384-F644-45F1-B5B2-58D44CF541C8}" type="sibTrans" cxnId="{6F1882A3-B4C7-4AAA-BF18-4EAD47C7E5EE}">
      <dgm:prSet/>
      <dgm:spPr/>
      <dgm:t>
        <a:bodyPr/>
        <a:lstStyle/>
        <a:p>
          <a:endParaRPr lang="zh-CN" altLang="en-US"/>
        </a:p>
      </dgm:t>
    </dgm:pt>
    <dgm:pt modelId="{F0049CFF-4F0F-480F-A8C0-C5DBBF1C856E}">
      <dgm:prSet phldrT="[文本]" custT="1"/>
      <dgm:spPr/>
      <dgm:t>
        <a:bodyPr/>
        <a:lstStyle/>
        <a:p>
          <a:r>
            <a:rPr lang="en-US" altLang="zh-CN" sz="1600" dirty="0"/>
            <a:t>Claims</a:t>
          </a:r>
          <a:r>
            <a:rPr lang="zh-CN" altLang="en-US" sz="1600" dirty="0"/>
            <a:t>、</a:t>
          </a:r>
          <a:r>
            <a:rPr lang="en-US" sz="1600" b="0" i="0" dirty="0" err="1"/>
            <a:t>AuthenticationType</a:t>
          </a:r>
          <a:endParaRPr lang="zh-CN" altLang="en-US" sz="1600" dirty="0"/>
        </a:p>
      </dgm:t>
    </dgm:pt>
    <dgm:pt modelId="{357A09A6-730C-4ADC-9ECC-93B6047E05BA}" type="parTrans" cxnId="{14394B5F-C83F-4F95-89AA-5DD9D81E7E23}">
      <dgm:prSet/>
      <dgm:spPr/>
      <dgm:t>
        <a:bodyPr/>
        <a:lstStyle/>
        <a:p>
          <a:endParaRPr lang="zh-CN" altLang="en-US"/>
        </a:p>
      </dgm:t>
    </dgm:pt>
    <dgm:pt modelId="{5EC077DC-72AE-44F6-9608-EEA70E5EA3C6}" type="sibTrans" cxnId="{14394B5F-C83F-4F95-89AA-5DD9D81E7E23}">
      <dgm:prSet/>
      <dgm:spPr/>
      <dgm:t>
        <a:bodyPr/>
        <a:lstStyle/>
        <a:p>
          <a:endParaRPr lang="zh-CN" altLang="en-US"/>
        </a:p>
      </dgm:t>
    </dgm:pt>
    <dgm:pt modelId="{27FC65C0-D5D5-480E-B7FE-7569C6727A73}">
      <dgm:prSet phldrT="[文本]" custT="1"/>
      <dgm:spPr/>
      <dgm:t>
        <a:bodyPr/>
        <a:lstStyle/>
        <a:p>
          <a:r>
            <a:rPr lang="en-US" altLang="zh-CN" sz="1600" dirty="0"/>
            <a:t>Claim-token-cookie</a:t>
          </a:r>
          <a:endParaRPr lang="zh-CN" altLang="en-US" sz="1600" dirty="0"/>
        </a:p>
      </dgm:t>
    </dgm:pt>
    <dgm:pt modelId="{0F8BAE1D-B886-4CE2-8CC4-78301BB8A596}" type="parTrans" cxnId="{5002E07F-B55E-4219-ACBA-2D1514F0E205}">
      <dgm:prSet/>
      <dgm:spPr/>
      <dgm:t>
        <a:bodyPr/>
        <a:lstStyle/>
        <a:p>
          <a:endParaRPr lang="zh-CN" altLang="en-US"/>
        </a:p>
      </dgm:t>
    </dgm:pt>
    <dgm:pt modelId="{F0548782-42B5-49E0-9CB4-D926EB9C13FF}" type="sibTrans" cxnId="{5002E07F-B55E-4219-ACBA-2D1514F0E205}">
      <dgm:prSet/>
      <dgm:spPr/>
      <dgm:t>
        <a:bodyPr/>
        <a:lstStyle/>
        <a:p>
          <a:endParaRPr lang="zh-CN" altLang="en-US"/>
        </a:p>
      </dgm:t>
    </dgm:pt>
    <dgm:pt modelId="{A6CB1F21-7132-4D47-9C44-DB025CD11FED}">
      <dgm:prSet phldrT="[文本]" custT="1"/>
      <dgm:spPr/>
      <dgm:t>
        <a:bodyPr/>
        <a:lstStyle/>
        <a:p>
          <a:r>
            <a:rPr lang="en-US" altLang="zh-CN" sz="1600" dirty="0"/>
            <a:t>User</a:t>
          </a:r>
          <a:endParaRPr lang="zh-CN" altLang="en-US" sz="1600" dirty="0"/>
        </a:p>
      </dgm:t>
    </dgm:pt>
    <dgm:pt modelId="{90C1B1C1-4F2F-4EEC-BEC3-C185C6DBA1CF}" type="parTrans" cxnId="{1CE55A5B-9454-4A43-BEC2-3FD05F90556C}">
      <dgm:prSet/>
      <dgm:spPr/>
      <dgm:t>
        <a:bodyPr/>
        <a:lstStyle/>
        <a:p>
          <a:endParaRPr lang="zh-CN" altLang="en-US"/>
        </a:p>
      </dgm:t>
    </dgm:pt>
    <dgm:pt modelId="{6475DF6B-2459-4060-8A59-FC6C9F83D8A6}" type="sibTrans" cxnId="{1CE55A5B-9454-4A43-BEC2-3FD05F90556C}">
      <dgm:prSet/>
      <dgm:spPr/>
      <dgm:t>
        <a:bodyPr/>
        <a:lstStyle/>
        <a:p>
          <a:endParaRPr lang="zh-CN" altLang="en-US"/>
        </a:p>
      </dgm:t>
    </dgm:pt>
    <dgm:pt modelId="{9EF4E42F-D4C4-4D3F-962E-836ECC2254AB}" type="pres">
      <dgm:prSet presAssocID="{43B1D23C-8A9F-4493-BF7A-E4C12871987F}" presName="Name0" presStyleCnt="0">
        <dgm:presLayoutVars>
          <dgm:dir/>
          <dgm:animLvl val="lvl"/>
          <dgm:resizeHandles val="exact"/>
        </dgm:presLayoutVars>
      </dgm:prSet>
      <dgm:spPr/>
    </dgm:pt>
    <dgm:pt modelId="{D4BA36F2-50F6-4971-A874-2158DB7A20AD}" type="pres">
      <dgm:prSet presAssocID="{1B0DFFD5-73C9-4795-8602-DEC03193FEA9}" presName="composite" presStyleCnt="0"/>
      <dgm:spPr/>
    </dgm:pt>
    <dgm:pt modelId="{E4A9224E-2C6D-4D39-8884-47A7DEDCE9FA}" type="pres">
      <dgm:prSet presAssocID="{1B0DFFD5-73C9-4795-8602-DEC03193FEA9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6BB0FA41-44C5-4E18-914D-11FD8E6B5D2B}" type="pres">
      <dgm:prSet presAssocID="{1B0DFFD5-73C9-4795-8602-DEC03193FEA9}" presName="desTx" presStyleLbl="alignAccFollowNode1" presStyleIdx="0" presStyleCnt="3">
        <dgm:presLayoutVars>
          <dgm:bulletEnabled val="1"/>
        </dgm:presLayoutVars>
      </dgm:prSet>
      <dgm:spPr/>
    </dgm:pt>
    <dgm:pt modelId="{7CF22479-0E5D-413C-801C-E5B097CD8473}" type="pres">
      <dgm:prSet presAssocID="{2838D6DC-7FC4-41E6-B50E-FA6AF1473AA4}" presName="space" presStyleCnt="0"/>
      <dgm:spPr/>
    </dgm:pt>
    <dgm:pt modelId="{02C87A62-7503-4F49-B929-8EEA5B20DC4A}" type="pres">
      <dgm:prSet presAssocID="{511DA90A-1EC8-492F-9F1F-AC8A44B35201}" presName="composite" presStyleCnt="0"/>
      <dgm:spPr/>
    </dgm:pt>
    <dgm:pt modelId="{78A981C0-A841-4D09-B2CB-1147A440BC6B}" type="pres">
      <dgm:prSet presAssocID="{511DA90A-1EC8-492F-9F1F-AC8A44B35201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5E557C1A-1FA1-4702-963F-D35D68A4A2E6}" type="pres">
      <dgm:prSet presAssocID="{511DA90A-1EC8-492F-9F1F-AC8A44B35201}" presName="desTx" presStyleLbl="alignAccFollowNode1" presStyleIdx="1" presStyleCnt="3">
        <dgm:presLayoutVars>
          <dgm:bulletEnabled val="1"/>
        </dgm:presLayoutVars>
      </dgm:prSet>
      <dgm:spPr/>
    </dgm:pt>
    <dgm:pt modelId="{F3DE6DEC-E071-48B8-B191-C67209D20DD9}" type="pres">
      <dgm:prSet presAssocID="{94B2BE11-2BBF-44AE-B0AE-A9BCAA506E2A}" presName="space" presStyleCnt="0"/>
      <dgm:spPr/>
    </dgm:pt>
    <dgm:pt modelId="{D2A1C54F-008E-4ED8-9E70-3BDEA2CE5226}" type="pres">
      <dgm:prSet presAssocID="{A683D37F-C87F-4AC5-9E2F-7A9203323536}" presName="composite" presStyleCnt="0"/>
      <dgm:spPr/>
    </dgm:pt>
    <dgm:pt modelId="{55717B48-86A1-49EA-8424-88F2AE978BB6}" type="pres">
      <dgm:prSet presAssocID="{A683D37F-C87F-4AC5-9E2F-7A9203323536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83B98A9D-D7F9-49A9-AE53-9DAA48878E54}" type="pres">
      <dgm:prSet presAssocID="{A683D37F-C87F-4AC5-9E2F-7A9203323536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F92B4D02-17BC-49C4-85CB-5F6B76F0F774}" srcId="{A683D37F-C87F-4AC5-9E2F-7A9203323536}" destId="{16698C34-2ECB-436B-90F5-F1EBA72D91DD}" srcOrd="0" destOrd="0" parTransId="{90D768E0-9954-4957-A9F4-DA866BF1DEC3}" sibTransId="{4FB57261-CC03-410E-90AF-F2C77FF80DA7}"/>
    <dgm:cxn modelId="{3B6F8003-DAFF-4810-80A6-E2A24E1E9F27}" srcId="{43B1D23C-8A9F-4493-BF7A-E4C12871987F}" destId="{A683D37F-C87F-4AC5-9E2F-7A9203323536}" srcOrd="2" destOrd="0" parTransId="{082D9CA2-A574-459F-BB1F-A891DA3C33D6}" sibTransId="{E056ABE9-01EE-425F-8A0D-89302A117DF6}"/>
    <dgm:cxn modelId="{64E5080F-6B72-4309-BBA6-E9815A89F966}" type="presOf" srcId="{10439249-EED4-4C65-953C-44BDC506A2C6}" destId="{6BB0FA41-44C5-4E18-914D-11FD8E6B5D2B}" srcOrd="0" destOrd="1" presId="urn:microsoft.com/office/officeart/2005/8/layout/hList1"/>
    <dgm:cxn modelId="{1021E218-E939-49F6-AC84-8541D0D15EB0}" srcId="{43B1D23C-8A9F-4493-BF7A-E4C12871987F}" destId="{511DA90A-1EC8-492F-9F1F-AC8A44B35201}" srcOrd="1" destOrd="0" parTransId="{424C2DC5-A337-4693-94C5-E2D528EDF76C}" sibTransId="{94B2BE11-2BBF-44AE-B0AE-A9BCAA506E2A}"/>
    <dgm:cxn modelId="{7977BB19-5BC6-41E4-A7AE-BEB56C6E77F7}" type="presOf" srcId="{16698C34-2ECB-436B-90F5-F1EBA72D91DD}" destId="{83B98A9D-D7F9-49A9-AE53-9DAA48878E54}" srcOrd="0" destOrd="0" presId="urn:microsoft.com/office/officeart/2005/8/layout/hList1"/>
    <dgm:cxn modelId="{1772C32D-083A-4EA3-92B7-503DF2B6F1E5}" type="presOf" srcId="{A683D37F-C87F-4AC5-9E2F-7A9203323536}" destId="{55717B48-86A1-49EA-8424-88F2AE978BB6}" srcOrd="0" destOrd="0" presId="urn:microsoft.com/office/officeart/2005/8/layout/hList1"/>
    <dgm:cxn modelId="{1CE55A5B-9454-4A43-BEC2-3FD05F90556C}" srcId="{A683D37F-C87F-4AC5-9E2F-7A9203323536}" destId="{A6CB1F21-7132-4D47-9C44-DB025CD11FED}" srcOrd="2" destOrd="0" parTransId="{90C1B1C1-4F2F-4EEC-BEC3-C185C6DBA1CF}" sibTransId="{6475DF6B-2459-4060-8A59-FC6C9F83D8A6}"/>
    <dgm:cxn modelId="{14394B5F-C83F-4F95-89AA-5DD9D81E7E23}" srcId="{511DA90A-1EC8-492F-9F1F-AC8A44B35201}" destId="{F0049CFF-4F0F-480F-A8C0-C5DBBF1C856E}" srcOrd="0" destOrd="0" parTransId="{357A09A6-730C-4ADC-9ECC-93B6047E05BA}" sibTransId="{5EC077DC-72AE-44F6-9608-EEA70E5EA3C6}"/>
    <dgm:cxn modelId="{AACD3E62-47A7-4E0A-996A-816C6BB47704}" type="presOf" srcId="{4B93B513-D7E3-4B4D-91B9-EA369BC67CEA}" destId="{6BB0FA41-44C5-4E18-914D-11FD8E6B5D2B}" srcOrd="0" destOrd="2" presId="urn:microsoft.com/office/officeart/2005/8/layout/hList1"/>
    <dgm:cxn modelId="{09957F62-CB6F-4091-807C-C8F138F27290}" srcId="{1B0DFFD5-73C9-4795-8602-DEC03193FEA9}" destId="{1B09E61D-F95A-40DC-A5C2-6EBC3973D8A3}" srcOrd="0" destOrd="0" parTransId="{8C01FEC1-7C36-4437-80C4-6F67EA779B26}" sibTransId="{000E5073-95EE-46A1-85B9-E0C2FC8DE689}"/>
    <dgm:cxn modelId="{37BBBA63-3DB0-42A8-942B-84EB759E02D0}" type="presOf" srcId="{511DA90A-1EC8-492F-9F1F-AC8A44B35201}" destId="{78A981C0-A841-4D09-B2CB-1147A440BC6B}" srcOrd="0" destOrd="0" presId="urn:microsoft.com/office/officeart/2005/8/layout/hList1"/>
    <dgm:cxn modelId="{5002E07F-B55E-4219-ACBA-2D1514F0E205}" srcId="{1B0DFFD5-73C9-4795-8602-DEC03193FEA9}" destId="{27FC65C0-D5D5-480E-B7FE-7569C6727A73}" srcOrd="3" destOrd="0" parTransId="{0F8BAE1D-B886-4CE2-8CC4-78301BB8A596}" sibTransId="{F0548782-42B5-49E0-9CB4-D926EB9C13FF}"/>
    <dgm:cxn modelId="{993A3182-05C9-4963-9276-FE2A86678219}" type="presOf" srcId="{64692A47-7C11-47AE-8A02-0AB7564B7182}" destId="{5E557C1A-1FA1-4702-963F-D35D68A4A2E6}" srcOrd="0" destOrd="1" presId="urn:microsoft.com/office/officeart/2005/8/layout/hList1"/>
    <dgm:cxn modelId="{BE74B184-3125-4359-BCB7-C76A9E44EB43}" srcId="{511DA90A-1EC8-492F-9F1F-AC8A44B35201}" destId="{64692A47-7C11-47AE-8A02-0AB7564B7182}" srcOrd="1" destOrd="0" parTransId="{B9421578-2596-4A92-B261-B939D43166B8}" sibTransId="{9C331833-55A9-41FD-A31A-C7A203EDBA42}"/>
    <dgm:cxn modelId="{112C7D85-2A91-41DD-93FD-22A7412BF86A}" type="presOf" srcId="{43B1D23C-8A9F-4493-BF7A-E4C12871987F}" destId="{9EF4E42F-D4C4-4D3F-962E-836ECC2254AB}" srcOrd="0" destOrd="0" presId="urn:microsoft.com/office/officeart/2005/8/layout/hList1"/>
    <dgm:cxn modelId="{269FF496-8D12-413D-B661-FA3BB5BD49C8}" type="presOf" srcId="{A6CB1F21-7132-4D47-9C44-DB025CD11FED}" destId="{83B98A9D-D7F9-49A9-AE53-9DAA48878E54}" srcOrd="0" destOrd="2" presId="urn:microsoft.com/office/officeart/2005/8/layout/hList1"/>
    <dgm:cxn modelId="{9CABBC9D-D248-4C15-A6B3-5BDA2570452E}" type="presOf" srcId="{1B0DFFD5-73C9-4795-8602-DEC03193FEA9}" destId="{E4A9224E-2C6D-4D39-8884-47A7DEDCE9FA}" srcOrd="0" destOrd="0" presId="urn:microsoft.com/office/officeart/2005/8/layout/hList1"/>
    <dgm:cxn modelId="{159E5EA1-B401-4C22-9BB2-5254C6100130}" srcId="{1B0DFFD5-73C9-4795-8602-DEC03193FEA9}" destId="{10439249-EED4-4C65-953C-44BDC506A2C6}" srcOrd="1" destOrd="0" parTransId="{A99D0B13-BB32-4047-8D7E-32F7778C3603}" sibTransId="{7759A980-1F0E-4829-91BF-ACB9086C6C7F}"/>
    <dgm:cxn modelId="{6F1882A3-B4C7-4AAA-BF18-4EAD47C7E5EE}" srcId="{A683D37F-C87F-4AC5-9E2F-7A9203323536}" destId="{7E48F481-68F9-430B-9A48-A8BA43B17A3D}" srcOrd="1" destOrd="0" parTransId="{DF2C2A79-B9C9-4A29-B536-60C37EBD9210}" sibTransId="{C0261384-F644-45F1-B5B2-58D44CF541C8}"/>
    <dgm:cxn modelId="{584D33AC-5BF1-4787-A0E4-ED47117C79BF}" type="presOf" srcId="{F0049CFF-4F0F-480F-A8C0-C5DBBF1C856E}" destId="{5E557C1A-1FA1-4702-963F-D35D68A4A2E6}" srcOrd="0" destOrd="0" presId="urn:microsoft.com/office/officeart/2005/8/layout/hList1"/>
    <dgm:cxn modelId="{7CAF2FC1-4C14-4CF1-A168-2872239F3226}" srcId="{1B0DFFD5-73C9-4795-8602-DEC03193FEA9}" destId="{4B93B513-D7E3-4B4D-91B9-EA369BC67CEA}" srcOrd="2" destOrd="0" parTransId="{599D8291-2137-47EF-A10A-17363F94CCBD}" sibTransId="{82AD488B-80BA-4998-917D-3E400941715E}"/>
    <dgm:cxn modelId="{B28167C3-1672-48C0-8E20-5FEEBFB818DA}" type="presOf" srcId="{1B09E61D-F95A-40DC-A5C2-6EBC3973D8A3}" destId="{6BB0FA41-44C5-4E18-914D-11FD8E6B5D2B}" srcOrd="0" destOrd="0" presId="urn:microsoft.com/office/officeart/2005/8/layout/hList1"/>
    <dgm:cxn modelId="{6BB4B8C6-37DB-456F-AE1C-882A32C009BB}" srcId="{43B1D23C-8A9F-4493-BF7A-E4C12871987F}" destId="{1B0DFFD5-73C9-4795-8602-DEC03193FEA9}" srcOrd="0" destOrd="0" parTransId="{9ED1DF1B-01ED-4707-B653-883DBDEE9205}" sibTransId="{2838D6DC-7FC4-41E6-B50E-FA6AF1473AA4}"/>
    <dgm:cxn modelId="{206152CE-4817-4D07-9D6C-8A00D14DEE5C}" type="presOf" srcId="{27FC65C0-D5D5-480E-B7FE-7569C6727A73}" destId="{6BB0FA41-44C5-4E18-914D-11FD8E6B5D2B}" srcOrd="0" destOrd="3" presId="urn:microsoft.com/office/officeart/2005/8/layout/hList1"/>
    <dgm:cxn modelId="{D97EC1F2-643D-441A-9A29-FC2B1E3C828E}" type="presOf" srcId="{7E48F481-68F9-430B-9A48-A8BA43B17A3D}" destId="{83B98A9D-D7F9-49A9-AE53-9DAA48878E54}" srcOrd="0" destOrd="1" presId="urn:microsoft.com/office/officeart/2005/8/layout/hList1"/>
    <dgm:cxn modelId="{6ED9D743-AEFA-4D06-B8CE-A4246BF8EEB1}" type="presParOf" srcId="{9EF4E42F-D4C4-4D3F-962E-836ECC2254AB}" destId="{D4BA36F2-50F6-4971-A874-2158DB7A20AD}" srcOrd="0" destOrd="0" presId="urn:microsoft.com/office/officeart/2005/8/layout/hList1"/>
    <dgm:cxn modelId="{86D77DD7-AD76-4712-BFAB-8D3395052348}" type="presParOf" srcId="{D4BA36F2-50F6-4971-A874-2158DB7A20AD}" destId="{E4A9224E-2C6D-4D39-8884-47A7DEDCE9FA}" srcOrd="0" destOrd="0" presId="urn:microsoft.com/office/officeart/2005/8/layout/hList1"/>
    <dgm:cxn modelId="{74FFA7ED-AD36-43A6-9B39-9EB3ADF5FCAF}" type="presParOf" srcId="{D4BA36F2-50F6-4971-A874-2158DB7A20AD}" destId="{6BB0FA41-44C5-4E18-914D-11FD8E6B5D2B}" srcOrd="1" destOrd="0" presId="urn:microsoft.com/office/officeart/2005/8/layout/hList1"/>
    <dgm:cxn modelId="{FD2B60FE-C22E-405D-AF14-571A0662ADFB}" type="presParOf" srcId="{9EF4E42F-D4C4-4D3F-962E-836ECC2254AB}" destId="{7CF22479-0E5D-413C-801C-E5B097CD8473}" srcOrd="1" destOrd="0" presId="urn:microsoft.com/office/officeart/2005/8/layout/hList1"/>
    <dgm:cxn modelId="{4CFD6AAA-4431-4379-A944-DA69D728790C}" type="presParOf" srcId="{9EF4E42F-D4C4-4D3F-962E-836ECC2254AB}" destId="{02C87A62-7503-4F49-B929-8EEA5B20DC4A}" srcOrd="2" destOrd="0" presId="urn:microsoft.com/office/officeart/2005/8/layout/hList1"/>
    <dgm:cxn modelId="{5F81D2DF-EE7A-4563-9449-763B62FE271E}" type="presParOf" srcId="{02C87A62-7503-4F49-B929-8EEA5B20DC4A}" destId="{78A981C0-A841-4D09-B2CB-1147A440BC6B}" srcOrd="0" destOrd="0" presId="urn:microsoft.com/office/officeart/2005/8/layout/hList1"/>
    <dgm:cxn modelId="{4A4B4DFE-D8E7-4E4B-AE23-7F51D87D40A7}" type="presParOf" srcId="{02C87A62-7503-4F49-B929-8EEA5B20DC4A}" destId="{5E557C1A-1FA1-4702-963F-D35D68A4A2E6}" srcOrd="1" destOrd="0" presId="urn:microsoft.com/office/officeart/2005/8/layout/hList1"/>
    <dgm:cxn modelId="{DCFBA0C5-DF78-4938-A415-3656EA64A062}" type="presParOf" srcId="{9EF4E42F-D4C4-4D3F-962E-836ECC2254AB}" destId="{F3DE6DEC-E071-48B8-B191-C67209D20DD9}" srcOrd="3" destOrd="0" presId="urn:microsoft.com/office/officeart/2005/8/layout/hList1"/>
    <dgm:cxn modelId="{73E1FB37-54E5-4706-9D78-4983CB1010FC}" type="presParOf" srcId="{9EF4E42F-D4C4-4D3F-962E-836ECC2254AB}" destId="{D2A1C54F-008E-4ED8-9E70-3BDEA2CE5226}" srcOrd="4" destOrd="0" presId="urn:microsoft.com/office/officeart/2005/8/layout/hList1"/>
    <dgm:cxn modelId="{18072EB1-5E02-4D46-8D28-BDC1720468F2}" type="presParOf" srcId="{D2A1C54F-008E-4ED8-9E70-3BDEA2CE5226}" destId="{55717B48-86A1-49EA-8424-88F2AE978BB6}" srcOrd="0" destOrd="0" presId="urn:microsoft.com/office/officeart/2005/8/layout/hList1"/>
    <dgm:cxn modelId="{E0A77A2C-5A7B-473B-B849-A22E7AB39118}" type="presParOf" srcId="{D2A1C54F-008E-4ED8-9E70-3BDEA2CE5226}" destId="{83B98A9D-D7F9-49A9-AE53-9DAA48878E5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4E790B0-0327-4FD3-B891-F01CF39DAC33}" type="doc">
      <dgm:prSet loTypeId="urn:microsoft.com/office/officeart/2005/8/layout/vList2" loCatId="list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zh-CN" altLang="en-US"/>
        </a:p>
      </dgm:t>
    </dgm:pt>
    <dgm:pt modelId="{165FF4E3-8727-43C6-9901-F31C6334F52E}">
      <dgm:prSet phldrT="[文本]" custT="1"/>
      <dgm:spPr/>
      <dgm:t>
        <a:bodyPr/>
        <a:lstStyle/>
        <a:p>
          <a:r>
            <a:rPr lang="zh-CN" altLang="en-US" sz="2800" i="0" dirty="0">
              <a:solidFill>
                <a:srgbClr val="212529"/>
              </a:solidFill>
              <a:effectLst/>
              <a:latin typeface="-apple-system"/>
            </a:rPr>
            <a:t>认证 </a:t>
          </a:r>
          <a:r>
            <a:rPr lang="en-US" altLang="zh-CN" sz="2800" i="0" dirty="0">
              <a:solidFill>
                <a:srgbClr val="212529"/>
              </a:solidFill>
              <a:effectLst/>
              <a:latin typeface="-apple-system"/>
            </a:rPr>
            <a:t>Authentication</a:t>
          </a:r>
          <a:endParaRPr lang="zh-CN" altLang="en-US" sz="2800" dirty="0"/>
        </a:p>
      </dgm:t>
    </dgm:pt>
    <dgm:pt modelId="{AC1590CE-2311-45B3-94F8-FF2B3BDB7D47}" type="parTrans" cxnId="{2D963E04-977E-433E-9DD4-B6008309F058}">
      <dgm:prSet/>
      <dgm:spPr/>
      <dgm:t>
        <a:bodyPr/>
        <a:lstStyle/>
        <a:p>
          <a:endParaRPr lang="zh-CN" altLang="en-US"/>
        </a:p>
      </dgm:t>
    </dgm:pt>
    <dgm:pt modelId="{C201822F-B9AE-426A-9FE3-A6FFDBF45F98}" type="sibTrans" cxnId="{2D963E04-977E-433E-9DD4-B6008309F058}">
      <dgm:prSet/>
      <dgm:spPr/>
      <dgm:t>
        <a:bodyPr/>
        <a:lstStyle/>
        <a:p>
          <a:endParaRPr lang="zh-CN" altLang="en-US"/>
        </a:p>
      </dgm:t>
    </dgm:pt>
    <dgm:pt modelId="{36C2FF7F-40BA-4961-86D2-DE65B1691EE1}">
      <dgm:prSet phldrT="[文本]" custT="1"/>
      <dgm:spPr/>
      <dgm:t>
        <a:bodyPr/>
        <a:lstStyle/>
        <a:p>
          <a:r>
            <a:rPr lang="zh-CN" altLang="en-US" sz="2000" b="1" i="0" dirty="0"/>
            <a:t>识别来访者是谁、确认来访者的身份</a:t>
          </a:r>
          <a:endParaRPr lang="zh-CN" altLang="en-US" sz="2000" dirty="0"/>
        </a:p>
      </dgm:t>
    </dgm:pt>
    <dgm:pt modelId="{8FDDE6D6-4453-48B6-8BFD-08D7B15E3707}" type="parTrans" cxnId="{F5AACCB7-E383-455A-8F5D-00E0EFEBD017}">
      <dgm:prSet/>
      <dgm:spPr/>
      <dgm:t>
        <a:bodyPr/>
        <a:lstStyle/>
        <a:p>
          <a:endParaRPr lang="zh-CN" altLang="en-US"/>
        </a:p>
      </dgm:t>
    </dgm:pt>
    <dgm:pt modelId="{53BC8734-4B8F-46BF-BD15-29317F374A2C}" type="sibTrans" cxnId="{F5AACCB7-E383-455A-8F5D-00E0EFEBD017}">
      <dgm:prSet/>
      <dgm:spPr/>
      <dgm:t>
        <a:bodyPr/>
        <a:lstStyle/>
        <a:p>
          <a:endParaRPr lang="zh-CN" altLang="en-US"/>
        </a:p>
      </dgm:t>
    </dgm:pt>
    <dgm:pt modelId="{9DAA6BAC-A7B1-4D76-99F4-6D2706EC7342}">
      <dgm:prSet phldrT="[文本]" custT="1"/>
      <dgm:spPr/>
      <dgm:t>
        <a:bodyPr/>
        <a:lstStyle/>
        <a:p>
          <a:r>
            <a:rPr lang="zh-CN" altLang="en-US" sz="2800" i="0" dirty="0">
              <a:solidFill>
                <a:srgbClr val="212529"/>
              </a:solidFill>
              <a:effectLst/>
              <a:latin typeface="-apple-system"/>
            </a:rPr>
            <a:t>授权 </a:t>
          </a:r>
          <a:r>
            <a:rPr lang="en-US" altLang="zh-CN" sz="2800" i="0" dirty="0">
              <a:solidFill>
                <a:srgbClr val="212529"/>
              </a:solidFill>
              <a:effectLst/>
              <a:latin typeface="-apple-system"/>
            </a:rPr>
            <a:t>Authorization</a:t>
          </a:r>
          <a:endParaRPr lang="zh-CN" altLang="en-US" sz="2800" dirty="0"/>
        </a:p>
      </dgm:t>
    </dgm:pt>
    <dgm:pt modelId="{AE61191E-8169-4D12-82E0-B96351656A9D}" type="parTrans" cxnId="{EFAD947C-6507-4163-9A58-2A97E5C380A4}">
      <dgm:prSet/>
      <dgm:spPr/>
      <dgm:t>
        <a:bodyPr/>
        <a:lstStyle/>
        <a:p>
          <a:endParaRPr lang="zh-CN" altLang="en-US"/>
        </a:p>
      </dgm:t>
    </dgm:pt>
    <dgm:pt modelId="{8996A78B-856F-41D8-9448-915699A87ECD}" type="sibTrans" cxnId="{EFAD947C-6507-4163-9A58-2A97E5C380A4}">
      <dgm:prSet/>
      <dgm:spPr/>
      <dgm:t>
        <a:bodyPr/>
        <a:lstStyle/>
        <a:p>
          <a:endParaRPr lang="zh-CN" altLang="en-US"/>
        </a:p>
      </dgm:t>
    </dgm:pt>
    <dgm:pt modelId="{B4865A20-59CF-4AF3-BF98-307AB9DDBB6D}">
      <dgm:prSet phldrT="[文本]" custT="1"/>
      <dgm:spPr/>
      <dgm:t>
        <a:bodyPr/>
        <a:lstStyle/>
        <a:p>
          <a:r>
            <a:rPr lang="zh-CN" altLang="en-US" sz="2000" b="0" i="0" dirty="0"/>
            <a:t>确认</a:t>
          </a:r>
          <a:r>
            <a:rPr lang="zh-CN" altLang="en-US" sz="2000" b="1" i="0" dirty="0"/>
            <a:t>持有此身份的来者</a:t>
          </a:r>
          <a:r>
            <a:rPr lang="zh-CN" altLang="en-US" sz="2000" b="0" i="0" dirty="0"/>
            <a:t>能不能访问当前请求的资源</a:t>
          </a:r>
          <a:endParaRPr lang="zh-CN" altLang="en-US" sz="2000" dirty="0"/>
        </a:p>
      </dgm:t>
    </dgm:pt>
    <dgm:pt modelId="{7082C519-4545-45AE-A9B5-79B65A18EAF0}" type="parTrans" cxnId="{217A00C9-1C05-4A5F-9BCA-A522E2DEA603}">
      <dgm:prSet/>
      <dgm:spPr/>
      <dgm:t>
        <a:bodyPr/>
        <a:lstStyle/>
        <a:p>
          <a:endParaRPr lang="zh-CN" altLang="en-US"/>
        </a:p>
      </dgm:t>
    </dgm:pt>
    <dgm:pt modelId="{5FAC9DB6-5459-4793-B1C8-D5F4F13C7CB3}" type="sibTrans" cxnId="{217A00C9-1C05-4A5F-9BCA-A522E2DEA603}">
      <dgm:prSet/>
      <dgm:spPr/>
      <dgm:t>
        <a:bodyPr/>
        <a:lstStyle/>
        <a:p>
          <a:endParaRPr lang="zh-CN" altLang="en-US"/>
        </a:p>
      </dgm:t>
    </dgm:pt>
    <dgm:pt modelId="{DC060EFC-24E0-4940-93E7-DA017446451D}" type="pres">
      <dgm:prSet presAssocID="{24E790B0-0327-4FD3-B891-F01CF39DAC33}" presName="linear" presStyleCnt="0">
        <dgm:presLayoutVars>
          <dgm:animLvl val="lvl"/>
          <dgm:resizeHandles val="exact"/>
        </dgm:presLayoutVars>
      </dgm:prSet>
      <dgm:spPr/>
    </dgm:pt>
    <dgm:pt modelId="{17F65341-B421-4A80-B0AE-A32CEA05D35E}" type="pres">
      <dgm:prSet presAssocID="{165FF4E3-8727-43C6-9901-F31C6334F52E}" presName="parentText" presStyleLbl="node1" presStyleIdx="0" presStyleCnt="2" custLinFactNeighborX="-5" custLinFactNeighborY="-4036">
        <dgm:presLayoutVars>
          <dgm:chMax val="0"/>
          <dgm:bulletEnabled val="1"/>
        </dgm:presLayoutVars>
      </dgm:prSet>
      <dgm:spPr/>
    </dgm:pt>
    <dgm:pt modelId="{31AB874D-D802-4D63-9720-A840B2AC4A66}" type="pres">
      <dgm:prSet presAssocID="{165FF4E3-8727-43C6-9901-F31C6334F52E}" presName="childText" presStyleLbl="revTx" presStyleIdx="0" presStyleCnt="2">
        <dgm:presLayoutVars>
          <dgm:bulletEnabled val="1"/>
        </dgm:presLayoutVars>
      </dgm:prSet>
      <dgm:spPr/>
    </dgm:pt>
    <dgm:pt modelId="{0D34A210-535B-4263-B2E2-EDCFB370B647}" type="pres">
      <dgm:prSet presAssocID="{9DAA6BAC-A7B1-4D76-99F4-6D2706EC7342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627A95AF-3845-4090-A56E-36E6727EFACC}" type="pres">
      <dgm:prSet presAssocID="{9DAA6BAC-A7B1-4D76-99F4-6D2706EC7342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2D963E04-977E-433E-9DD4-B6008309F058}" srcId="{24E790B0-0327-4FD3-B891-F01CF39DAC33}" destId="{165FF4E3-8727-43C6-9901-F31C6334F52E}" srcOrd="0" destOrd="0" parTransId="{AC1590CE-2311-45B3-94F8-FF2B3BDB7D47}" sibTransId="{C201822F-B9AE-426A-9FE3-A6FFDBF45F98}"/>
    <dgm:cxn modelId="{39192947-B2F4-4F4E-947C-06660618326C}" type="presOf" srcId="{165FF4E3-8727-43C6-9901-F31C6334F52E}" destId="{17F65341-B421-4A80-B0AE-A32CEA05D35E}" srcOrd="0" destOrd="0" presId="urn:microsoft.com/office/officeart/2005/8/layout/vList2"/>
    <dgm:cxn modelId="{43AF3F57-3EE3-4420-87FA-A14035866C7C}" type="presOf" srcId="{36C2FF7F-40BA-4961-86D2-DE65B1691EE1}" destId="{31AB874D-D802-4D63-9720-A840B2AC4A66}" srcOrd="0" destOrd="0" presId="urn:microsoft.com/office/officeart/2005/8/layout/vList2"/>
    <dgm:cxn modelId="{EFAD947C-6507-4163-9A58-2A97E5C380A4}" srcId="{24E790B0-0327-4FD3-B891-F01CF39DAC33}" destId="{9DAA6BAC-A7B1-4D76-99F4-6D2706EC7342}" srcOrd="1" destOrd="0" parTransId="{AE61191E-8169-4D12-82E0-B96351656A9D}" sibTransId="{8996A78B-856F-41D8-9448-915699A87ECD}"/>
    <dgm:cxn modelId="{F5AACCB7-E383-455A-8F5D-00E0EFEBD017}" srcId="{165FF4E3-8727-43C6-9901-F31C6334F52E}" destId="{36C2FF7F-40BA-4961-86D2-DE65B1691EE1}" srcOrd="0" destOrd="0" parTransId="{8FDDE6D6-4453-48B6-8BFD-08D7B15E3707}" sibTransId="{53BC8734-4B8F-46BF-BD15-29317F374A2C}"/>
    <dgm:cxn modelId="{217A00C9-1C05-4A5F-9BCA-A522E2DEA603}" srcId="{9DAA6BAC-A7B1-4D76-99F4-6D2706EC7342}" destId="{B4865A20-59CF-4AF3-BF98-307AB9DDBB6D}" srcOrd="0" destOrd="0" parTransId="{7082C519-4545-45AE-A9B5-79B65A18EAF0}" sibTransId="{5FAC9DB6-5459-4793-B1C8-D5F4F13C7CB3}"/>
    <dgm:cxn modelId="{1F806ACA-9481-49F9-97E6-3CE84003C130}" type="presOf" srcId="{24E790B0-0327-4FD3-B891-F01CF39DAC33}" destId="{DC060EFC-24E0-4940-93E7-DA017446451D}" srcOrd="0" destOrd="0" presId="urn:microsoft.com/office/officeart/2005/8/layout/vList2"/>
    <dgm:cxn modelId="{85D2C4D1-F946-4335-95D2-D6D18976D425}" type="presOf" srcId="{9DAA6BAC-A7B1-4D76-99F4-6D2706EC7342}" destId="{0D34A210-535B-4263-B2E2-EDCFB370B647}" srcOrd="0" destOrd="0" presId="urn:microsoft.com/office/officeart/2005/8/layout/vList2"/>
    <dgm:cxn modelId="{C14DEAE8-45A4-4FC2-AFE8-3902028C8B1C}" type="presOf" srcId="{B4865A20-59CF-4AF3-BF98-307AB9DDBB6D}" destId="{627A95AF-3845-4090-A56E-36E6727EFACC}" srcOrd="0" destOrd="0" presId="urn:microsoft.com/office/officeart/2005/8/layout/vList2"/>
    <dgm:cxn modelId="{55B42E0A-18DD-4CE5-AA44-D4099AB27393}" type="presParOf" srcId="{DC060EFC-24E0-4940-93E7-DA017446451D}" destId="{17F65341-B421-4A80-B0AE-A32CEA05D35E}" srcOrd="0" destOrd="0" presId="urn:microsoft.com/office/officeart/2005/8/layout/vList2"/>
    <dgm:cxn modelId="{C5D1529B-6947-4CCF-8109-0E5CAE1C1EA2}" type="presParOf" srcId="{DC060EFC-24E0-4940-93E7-DA017446451D}" destId="{31AB874D-D802-4D63-9720-A840B2AC4A66}" srcOrd="1" destOrd="0" presId="urn:microsoft.com/office/officeart/2005/8/layout/vList2"/>
    <dgm:cxn modelId="{82F613B2-5A6D-40DE-B67D-8D5C220C0E17}" type="presParOf" srcId="{DC060EFC-24E0-4940-93E7-DA017446451D}" destId="{0D34A210-535B-4263-B2E2-EDCFB370B647}" srcOrd="2" destOrd="0" presId="urn:microsoft.com/office/officeart/2005/8/layout/vList2"/>
    <dgm:cxn modelId="{70487C1E-67A6-485E-9181-599FF3AC3BA0}" type="presParOf" srcId="{DC060EFC-24E0-4940-93E7-DA017446451D}" destId="{627A95AF-3845-4090-A56E-36E6727EFAC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1C32CF-F34E-46F8-BD74-C4082CB88006}">
      <dsp:nvSpPr>
        <dsp:cNvPr id="0" name=""/>
        <dsp:cNvSpPr/>
      </dsp:nvSpPr>
      <dsp:spPr>
        <a:xfrm rot="5400000">
          <a:off x="4915646" y="-1829541"/>
          <a:ext cx="1235199" cy="5207761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zh-CN" altLang="en-US" sz="1300" b="0" i="0" kern="1200" dirty="0"/>
            <a:t>该程序集包含了整个 </a:t>
          </a:r>
          <a:r>
            <a:rPr lang="en-US" sz="1300" b="0" i="0" kern="1200" dirty="0" err="1"/>
            <a:t>IdentityCore</a:t>
          </a:r>
          <a:r>
            <a:rPr lang="en-US" sz="1300" b="0" i="0" kern="1200" dirty="0"/>
            <a:t> </a:t>
          </a:r>
          <a:r>
            <a:rPr lang="zh-CN" altLang="en-US" sz="1300" b="0" i="0" kern="1200" dirty="0"/>
            <a:t>框架的实体定义，大致包含 </a:t>
          </a:r>
          <a:r>
            <a:rPr lang="en-US" sz="1300" b="0" i="0" kern="1200" dirty="0" err="1"/>
            <a:t>IdentityUser</a:t>
          </a:r>
          <a:r>
            <a:rPr lang="en-US" sz="1300" b="0" i="0" kern="1200" dirty="0"/>
            <a:t>(</a:t>
          </a:r>
          <a:r>
            <a:rPr lang="zh-CN" altLang="en-US" sz="1300" b="0" i="0" kern="1200" dirty="0"/>
            <a:t>用户</a:t>
          </a:r>
          <a:r>
            <a:rPr lang="en-US" altLang="zh-CN" sz="1300" b="0" i="0" kern="1200" dirty="0"/>
            <a:t>) </a:t>
          </a:r>
          <a:r>
            <a:rPr lang="en-US" sz="1300" b="0" i="0" kern="1200" dirty="0" err="1"/>
            <a:t>IdentityRole</a:t>
          </a:r>
          <a:r>
            <a:rPr lang="en-US" sz="1300" b="0" i="0" kern="1200" dirty="0"/>
            <a:t> (</a:t>
          </a:r>
          <a:r>
            <a:rPr lang="zh-CN" altLang="en-US" sz="1300" b="0" i="0" kern="1200" dirty="0"/>
            <a:t>角色</a:t>
          </a:r>
          <a:r>
            <a:rPr lang="en-US" altLang="zh-CN" sz="1300" b="0" i="0" kern="1200" dirty="0"/>
            <a:t>) </a:t>
          </a:r>
          <a:r>
            <a:rPr lang="en-US" sz="1300" b="0" i="0" kern="1200" dirty="0" err="1"/>
            <a:t>IdentityUserRole</a:t>
          </a:r>
          <a:r>
            <a:rPr lang="en-US" sz="1300" b="0" i="0" kern="1200" dirty="0"/>
            <a:t>(</a:t>
          </a:r>
          <a:r>
            <a:rPr lang="zh-CN" altLang="en-US" sz="1300" b="0" i="0" kern="1200" dirty="0"/>
            <a:t>用户与角色的关联</a:t>
          </a:r>
          <a:r>
            <a:rPr lang="en-US" altLang="zh-CN" sz="1300" b="0" i="0" kern="1200" dirty="0"/>
            <a:t>) </a:t>
          </a:r>
          <a:r>
            <a:rPr lang="en-US" sz="1300" b="0" i="0" kern="1200" dirty="0" err="1"/>
            <a:t>IdentityUserClaim</a:t>
          </a:r>
          <a:r>
            <a:rPr lang="en-US" sz="1300" b="0" i="0" kern="1200" dirty="0"/>
            <a:t>(</a:t>
          </a:r>
          <a:r>
            <a:rPr lang="zh-CN" altLang="en-US" sz="1300" b="0" i="0" kern="1200" dirty="0"/>
            <a:t>用户的声明</a:t>
          </a:r>
          <a:r>
            <a:rPr lang="en-US" altLang="zh-CN" sz="1300" b="0" i="0" kern="1200" dirty="0"/>
            <a:t>) </a:t>
          </a:r>
          <a:r>
            <a:rPr lang="en-US" sz="1300" b="0" i="0" kern="1200" dirty="0" err="1"/>
            <a:t>IdentityRoleClaim</a:t>
          </a:r>
          <a:r>
            <a:rPr lang="en-US" sz="1300" b="0" i="0" kern="1200" dirty="0"/>
            <a:t>(</a:t>
          </a:r>
          <a:r>
            <a:rPr lang="zh-CN" altLang="en-US" sz="1300" b="0" i="0" kern="1200" dirty="0"/>
            <a:t>角色的声明</a:t>
          </a:r>
          <a:r>
            <a:rPr lang="en-US" altLang="zh-CN" sz="1300" b="0" i="0" kern="1200" dirty="0"/>
            <a:t>) </a:t>
          </a:r>
          <a:r>
            <a:rPr lang="en-US" sz="1300" b="0" i="0" kern="1200" dirty="0" err="1"/>
            <a:t>IdentityUserLogin</a:t>
          </a:r>
          <a:r>
            <a:rPr lang="en-US" sz="1300" b="0" i="0" kern="1200" dirty="0"/>
            <a:t>(</a:t>
          </a:r>
          <a:r>
            <a:rPr lang="zh-CN" altLang="en-US" sz="1300" b="0" i="0" kern="1200" dirty="0"/>
            <a:t>用户第三方登录</a:t>
          </a:r>
          <a:r>
            <a:rPr lang="en-US" altLang="zh-CN" sz="1300" b="0" i="0" kern="1200" dirty="0"/>
            <a:t>) </a:t>
          </a:r>
          <a:r>
            <a:rPr lang="zh-CN" altLang="en-US" sz="1300" b="0" i="0" kern="1200" dirty="0"/>
            <a:t>，与数据库的表相对应。</a:t>
          </a:r>
          <a:endParaRPr lang="zh-CN" altLang="en-US" sz="1300" kern="1200" dirty="0"/>
        </a:p>
      </dsp:txBody>
      <dsp:txXfrm rot="-5400000">
        <a:off x="2929366" y="217036"/>
        <a:ext cx="5147464" cy="1114605"/>
      </dsp:txXfrm>
    </dsp:sp>
    <dsp:sp modelId="{F13EE028-EBF1-4721-8C46-D9A479F0E0EB}">
      <dsp:nvSpPr>
        <dsp:cNvPr id="0" name=""/>
        <dsp:cNvSpPr/>
      </dsp:nvSpPr>
      <dsp:spPr>
        <a:xfrm>
          <a:off x="0" y="2339"/>
          <a:ext cx="2929365" cy="1543998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i="0" kern="1200" dirty="0" err="1"/>
            <a:t>Microsoft.Extensions</a:t>
          </a:r>
          <a:r>
            <a:rPr lang="en-US" sz="1800" b="1" i="0" kern="1200" dirty="0"/>
            <a:t> .</a:t>
          </a:r>
          <a:r>
            <a:rPr lang="en-US" sz="1800" b="1" i="0" kern="1200" dirty="0" err="1"/>
            <a:t>Identity.Core</a:t>
          </a:r>
          <a:endParaRPr lang="zh-CN" altLang="en-US" sz="1800" kern="1200" dirty="0"/>
        </a:p>
      </dsp:txBody>
      <dsp:txXfrm>
        <a:off x="75372" y="77711"/>
        <a:ext cx="2778621" cy="1393254"/>
      </dsp:txXfrm>
    </dsp:sp>
    <dsp:sp modelId="{059090CB-D651-4F09-8E20-5A3CCE233E95}">
      <dsp:nvSpPr>
        <dsp:cNvPr id="0" name=""/>
        <dsp:cNvSpPr/>
      </dsp:nvSpPr>
      <dsp:spPr>
        <a:xfrm rot="5400000">
          <a:off x="4915646" y="-208343"/>
          <a:ext cx="1235199" cy="5207761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300" b="0" i="0" kern="1200" dirty="0"/>
            <a:t>该程序主要用于对上面的实体进行基本的增删改查，包括用户管理（</a:t>
          </a:r>
          <a:r>
            <a:rPr lang="en-US" altLang="zh-CN" sz="1300" b="0" i="0" kern="1200" dirty="0" err="1"/>
            <a:t>UserManager</a:t>
          </a:r>
          <a:r>
            <a:rPr lang="zh-CN" altLang="en-US" sz="1300" b="0" i="0" kern="1200" dirty="0"/>
            <a:t>）和角色的管理</a:t>
          </a:r>
          <a:r>
            <a:rPr lang="en-US" altLang="zh-CN" sz="1300" b="0" i="0" kern="1200" dirty="0"/>
            <a:t>(</a:t>
          </a:r>
          <a:r>
            <a:rPr lang="en-US" altLang="zh-CN" sz="1300" b="0" i="0" kern="1200" dirty="0" err="1"/>
            <a:t>RoleManager</a:t>
          </a:r>
          <a:r>
            <a:rPr lang="en-US" altLang="zh-CN" sz="1300" b="0" i="0" kern="1200" dirty="0"/>
            <a:t>)</a:t>
          </a:r>
          <a:r>
            <a:rPr lang="zh-CN" altLang="en-US" sz="1300" b="0" i="0" kern="1200" dirty="0"/>
            <a:t>，以及一些可以进行的配置，比如用户名的限制、密码的验证等等。具体的存储实现需要下载其他的包</a:t>
          </a:r>
          <a:r>
            <a:rPr lang="en-US" altLang="zh-CN" sz="1300" b="0" i="0" kern="1200" dirty="0"/>
            <a:t>.</a:t>
          </a:r>
          <a:r>
            <a:rPr lang="zh-CN" altLang="en-US" sz="1300" b="0" i="0" kern="1200" dirty="0"/>
            <a:t>官方默认使用</a:t>
          </a:r>
          <a:r>
            <a:rPr lang="en-US" altLang="zh-CN" sz="1300" b="0" i="0" kern="1200" dirty="0"/>
            <a:t>EF Core </a:t>
          </a:r>
          <a:r>
            <a:rPr lang="zh-CN" altLang="en-US" sz="1300" b="0" i="0" kern="1200" dirty="0"/>
            <a:t>作为持久化库。</a:t>
          </a:r>
          <a:endParaRPr lang="zh-CN" altLang="en-US" sz="1300" kern="1200" dirty="0"/>
        </a:p>
      </dsp:txBody>
      <dsp:txXfrm rot="-5400000">
        <a:off x="2929366" y="1838234"/>
        <a:ext cx="5147464" cy="1114605"/>
      </dsp:txXfrm>
    </dsp:sp>
    <dsp:sp modelId="{1815066F-720D-4D0D-8001-AB151D12E064}">
      <dsp:nvSpPr>
        <dsp:cNvPr id="0" name=""/>
        <dsp:cNvSpPr/>
      </dsp:nvSpPr>
      <dsp:spPr>
        <a:xfrm>
          <a:off x="0" y="1623538"/>
          <a:ext cx="2929365" cy="1543998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i="0" kern="1200" dirty="0" err="1"/>
            <a:t>Microsoft.Extensions</a:t>
          </a:r>
          <a:r>
            <a:rPr lang="en-US" sz="1800" b="1" i="0" kern="1200" dirty="0"/>
            <a:t> .</a:t>
          </a:r>
          <a:r>
            <a:rPr lang="en-US" sz="1800" b="1" i="0" kern="1200" dirty="0" err="1"/>
            <a:t>Identity.Stores</a:t>
          </a:r>
          <a:endParaRPr lang="zh-CN" altLang="en-US" sz="1800" kern="1200" dirty="0"/>
        </a:p>
      </dsp:txBody>
      <dsp:txXfrm>
        <a:off x="75372" y="1698910"/>
        <a:ext cx="2778621" cy="1393254"/>
      </dsp:txXfrm>
    </dsp:sp>
    <dsp:sp modelId="{EC23FA18-6090-47EE-9CA6-E9A63AA20CA4}">
      <dsp:nvSpPr>
        <dsp:cNvPr id="0" name=""/>
        <dsp:cNvSpPr/>
      </dsp:nvSpPr>
      <dsp:spPr>
        <a:xfrm rot="5400000">
          <a:off x="4915646" y="1412855"/>
          <a:ext cx="1235199" cy="5207761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300" b="0" i="0" kern="1200" dirty="0"/>
            <a:t>该程序集用于在 </a:t>
          </a:r>
          <a:r>
            <a:rPr lang="en-US" altLang="zh-CN" sz="1300" b="0" i="0" kern="1200" dirty="0" err="1"/>
            <a:t>AspNetCore</a:t>
          </a:r>
          <a:r>
            <a:rPr lang="en-US" altLang="zh-CN" sz="1300" b="0" i="0" kern="1200" dirty="0"/>
            <a:t> </a:t>
          </a:r>
          <a:r>
            <a:rPr lang="zh-CN" altLang="en-US" sz="1300" b="0" i="0" kern="1200" dirty="0"/>
            <a:t>的项目中对认证和授权进行管理，也包括了对于 </a:t>
          </a:r>
          <a:r>
            <a:rPr lang="en-US" altLang="zh-CN" sz="1300" b="0" i="0" kern="1200" dirty="0" err="1"/>
            <a:t>AspNetCore</a:t>
          </a:r>
          <a:r>
            <a:rPr lang="en-US" altLang="zh-CN" sz="1300" b="0" i="0" kern="1200" dirty="0"/>
            <a:t> </a:t>
          </a:r>
          <a:r>
            <a:rPr lang="zh-CN" altLang="en-US" sz="1300" b="0" i="0" kern="1200" dirty="0"/>
            <a:t>项目中</a:t>
          </a:r>
          <a:r>
            <a:rPr lang="en-US" altLang="zh-CN" sz="1300" b="0" i="0" kern="1200" dirty="0"/>
            <a:t>identity</a:t>
          </a:r>
          <a:r>
            <a:rPr lang="zh-CN" altLang="en-US" sz="1300" b="0" i="0" kern="1200" dirty="0"/>
            <a:t>的基本配置</a:t>
          </a:r>
          <a:endParaRPr lang="zh-CN" altLang="en-US" sz="1300" kern="1200" dirty="0"/>
        </a:p>
      </dsp:txBody>
      <dsp:txXfrm rot="-5400000">
        <a:off x="2929366" y="3459433"/>
        <a:ext cx="5147464" cy="1114605"/>
      </dsp:txXfrm>
    </dsp:sp>
    <dsp:sp modelId="{B3D489F7-D2FC-4CA4-8738-1118C8807EB2}">
      <dsp:nvSpPr>
        <dsp:cNvPr id="0" name=""/>
        <dsp:cNvSpPr/>
      </dsp:nvSpPr>
      <dsp:spPr>
        <a:xfrm>
          <a:off x="0" y="3244736"/>
          <a:ext cx="2929365" cy="1543998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i="0" kern="1200" dirty="0" err="1"/>
            <a:t>Microsoft.AspNetCore</a:t>
          </a:r>
          <a:r>
            <a:rPr lang="en-US" sz="1800" b="1" i="0" kern="1200" dirty="0"/>
            <a:t>. Identity</a:t>
          </a:r>
          <a:endParaRPr lang="zh-CN" altLang="en-US" sz="1800" kern="1200" dirty="0"/>
        </a:p>
      </dsp:txBody>
      <dsp:txXfrm>
        <a:off x="75372" y="3320108"/>
        <a:ext cx="2778621" cy="139325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A9224E-2C6D-4D39-8884-47A7DEDCE9FA}">
      <dsp:nvSpPr>
        <dsp:cNvPr id="0" name=""/>
        <dsp:cNvSpPr/>
      </dsp:nvSpPr>
      <dsp:spPr>
        <a:xfrm>
          <a:off x="2602" y="1387701"/>
          <a:ext cx="2537525" cy="6912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400" kern="1200" dirty="0"/>
            <a:t>Claim</a:t>
          </a:r>
          <a:endParaRPr lang="zh-CN" altLang="en-US" sz="2400" kern="1200" dirty="0"/>
        </a:p>
      </dsp:txBody>
      <dsp:txXfrm>
        <a:off x="2602" y="1387701"/>
        <a:ext cx="2537525" cy="691200"/>
      </dsp:txXfrm>
    </dsp:sp>
    <dsp:sp modelId="{6BB0FA41-44C5-4E18-914D-11FD8E6B5D2B}">
      <dsp:nvSpPr>
        <dsp:cNvPr id="0" name=""/>
        <dsp:cNvSpPr/>
      </dsp:nvSpPr>
      <dsp:spPr>
        <a:xfrm>
          <a:off x="2602" y="2078901"/>
          <a:ext cx="2537525" cy="184464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/>
            <a:t>一对键值对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kern="1200" dirty="0" err="1"/>
            <a:t>ClaimType</a:t>
          </a:r>
          <a:r>
            <a:rPr lang="zh-CN" altLang="en-US" sz="1600" b="0" i="0" kern="1200" dirty="0"/>
            <a:t>为</a:t>
          </a:r>
          <a:r>
            <a:rPr lang="en-US" sz="1600" b="0" i="0" kern="1200" dirty="0" err="1"/>
            <a:t>Key，ClaimValue</a:t>
          </a:r>
          <a:r>
            <a:rPr lang="zh-CN" altLang="en-US" sz="1600" b="0" i="0" kern="1200" dirty="0"/>
            <a:t>为</a:t>
          </a:r>
          <a:r>
            <a:rPr lang="en-US" sz="1600" b="0" i="0" kern="1200" dirty="0"/>
            <a:t>Value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600" kern="1200" dirty="0"/>
            <a:t>“</a:t>
          </a:r>
          <a:r>
            <a:rPr lang="zh-CN" altLang="en-US" sz="1600" kern="1200" dirty="0"/>
            <a:t>证件单元</a:t>
          </a:r>
          <a:r>
            <a:rPr lang="en-US" altLang="zh-CN" sz="1600" kern="1200" dirty="0"/>
            <a:t>”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600" kern="1200" dirty="0"/>
            <a:t>Claim-token-cookie</a:t>
          </a:r>
          <a:endParaRPr lang="zh-CN" altLang="en-US" sz="1600" kern="1200" dirty="0"/>
        </a:p>
      </dsp:txBody>
      <dsp:txXfrm>
        <a:off x="2602" y="2078901"/>
        <a:ext cx="2537525" cy="1844640"/>
      </dsp:txXfrm>
    </dsp:sp>
    <dsp:sp modelId="{78A981C0-A841-4D09-B2CB-1147A440BC6B}">
      <dsp:nvSpPr>
        <dsp:cNvPr id="0" name=""/>
        <dsp:cNvSpPr/>
      </dsp:nvSpPr>
      <dsp:spPr>
        <a:xfrm>
          <a:off x="2895382" y="1387701"/>
          <a:ext cx="2537525" cy="6912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400" kern="1200" dirty="0" err="1"/>
            <a:t>ClaimsIdentity</a:t>
          </a:r>
          <a:endParaRPr lang="zh-CN" altLang="en-US" sz="2400" kern="1200" dirty="0"/>
        </a:p>
      </dsp:txBody>
      <dsp:txXfrm>
        <a:off x="2895382" y="1387701"/>
        <a:ext cx="2537525" cy="691200"/>
      </dsp:txXfrm>
    </dsp:sp>
    <dsp:sp modelId="{5E557C1A-1FA1-4702-963F-D35D68A4A2E6}">
      <dsp:nvSpPr>
        <dsp:cNvPr id="0" name=""/>
        <dsp:cNvSpPr/>
      </dsp:nvSpPr>
      <dsp:spPr>
        <a:xfrm>
          <a:off x="2895382" y="2078901"/>
          <a:ext cx="2537525" cy="1844640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600" kern="1200" dirty="0"/>
            <a:t>Claims</a:t>
          </a:r>
          <a:r>
            <a:rPr lang="zh-CN" altLang="en-US" sz="1600" kern="1200" dirty="0"/>
            <a:t>、</a:t>
          </a:r>
          <a:r>
            <a:rPr lang="en-US" sz="1600" b="0" i="0" kern="1200" dirty="0" err="1"/>
            <a:t>AuthenticationType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600" kern="1200" dirty="0"/>
            <a:t>“</a:t>
          </a:r>
          <a:r>
            <a:rPr lang="zh-CN" altLang="en-US" sz="1600" kern="1200" dirty="0"/>
            <a:t>证件</a:t>
          </a:r>
          <a:r>
            <a:rPr lang="en-US" altLang="zh-CN" sz="1600" kern="1200" dirty="0"/>
            <a:t>”</a:t>
          </a:r>
          <a:endParaRPr lang="zh-CN" altLang="en-US" sz="1600" kern="1200" dirty="0"/>
        </a:p>
      </dsp:txBody>
      <dsp:txXfrm>
        <a:off x="2895382" y="2078901"/>
        <a:ext cx="2537525" cy="1844640"/>
      </dsp:txXfrm>
    </dsp:sp>
    <dsp:sp modelId="{55717B48-86A1-49EA-8424-88F2AE978BB6}">
      <dsp:nvSpPr>
        <dsp:cNvPr id="0" name=""/>
        <dsp:cNvSpPr/>
      </dsp:nvSpPr>
      <dsp:spPr>
        <a:xfrm>
          <a:off x="5788161" y="1387701"/>
          <a:ext cx="2537525" cy="6912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400" kern="1200" dirty="0" err="1"/>
            <a:t>ClaimsPrincipal</a:t>
          </a:r>
          <a:endParaRPr lang="zh-CN" altLang="en-US" sz="2400" kern="1200" dirty="0"/>
        </a:p>
      </dsp:txBody>
      <dsp:txXfrm>
        <a:off x="5788161" y="1387701"/>
        <a:ext cx="2537525" cy="691200"/>
      </dsp:txXfrm>
    </dsp:sp>
    <dsp:sp modelId="{83B98A9D-D7F9-49A9-AE53-9DAA48878E54}">
      <dsp:nvSpPr>
        <dsp:cNvPr id="0" name=""/>
        <dsp:cNvSpPr/>
      </dsp:nvSpPr>
      <dsp:spPr>
        <a:xfrm>
          <a:off x="5788161" y="2078901"/>
          <a:ext cx="2537525" cy="1844640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600" kern="1200" dirty="0" err="1"/>
            <a:t>ClaimsIdentity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600" kern="1200" dirty="0"/>
            <a:t>“身份当事人”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600" kern="1200" dirty="0"/>
            <a:t>User</a:t>
          </a:r>
          <a:endParaRPr lang="zh-CN" altLang="en-US" sz="1600" kern="1200" dirty="0"/>
        </a:p>
      </dsp:txBody>
      <dsp:txXfrm>
        <a:off x="5788161" y="2078901"/>
        <a:ext cx="2537525" cy="18446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F65341-B421-4A80-B0AE-A32CEA05D35E}">
      <dsp:nvSpPr>
        <dsp:cNvPr id="0" name=""/>
        <dsp:cNvSpPr/>
      </dsp:nvSpPr>
      <dsp:spPr>
        <a:xfrm>
          <a:off x="0" y="0"/>
          <a:ext cx="8137525" cy="992160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800" i="0" kern="1200" dirty="0">
              <a:solidFill>
                <a:srgbClr val="212529"/>
              </a:solidFill>
              <a:effectLst/>
              <a:latin typeface="-apple-system"/>
            </a:rPr>
            <a:t>认证 </a:t>
          </a:r>
          <a:r>
            <a:rPr lang="en-US" altLang="zh-CN" sz="2800" i="0" kern="1200" dirty="0">
              <a:solidFill>
                <a:srgbClr val="212529"/>
              </a:solidFill>
              <a:effectLst/>
              <a:latin typeface="-apple-system"/>
            </a:rPr>
            <a:t>Authentication</a:t>
          </a:r>
          <a:endParaRPr lang="zh-CN" altLang="en-US" sz="2800" kern="1200" dirty="0"/>
        </a:p>
      </dsp:txBody>
      <dsp:txXfrm>
        <a:off x="48433" y="48433"/>
        <a:ext cx="8040659" cy="895294"/>
      </dsp:txXfrm>
    </dsp:sp>
    <dsp:sp modelId="{31AB874D-D802-4D63-9720-A840B2AC4A66}">
      <dsp:nvSpPr>
        <dsp:cNvPr id="0" name=""/>
        <dsp:cNvSpPr/>
      </dsp:nvSpPr>
      <dsp:spPr>
        <a:xfrm>
          <a:off x="0" y="1025203"/>
          <a:ext cx="8137525" cy="8776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8366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zh-CN" altLang="en-US" sz="2000" b="1" i="0" kern="1200" dirty="0"/>
            <a:t>识别来访者是谁、确认来访者的身份</a:t>
          </a:r>
          <a:endParaRPr lang="zh-CN" altLang="en-US" sz="2000" kern="1200" dirty="0"/>
        </a:p>
      </dsp:txBody>
      <dsp:txXfrm>
        <a:off x="0" y="1025203"/>
        <a:ext cx="8137525" cy="877680"/>
      </dsp:txXfrm>
    </dsp:sp>
    <dsp:sp modelId="{0D34A210-535B-4263-B2E2-EDCFB370B647}">
      <dsp:nvSpPr>
        <dsp:cNvPr id="0" name=""/>
        <dsp:cNvSpPr/>
      </dsp:nvSpPr>
      <dsp:spPr>
        <a:xfrm>
          <a:off x="0" y="1902883"/>
          <a:ext cx="8137525" cy="992160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800" i="0" kern="1200" dirty="0">
              <a:solidFill>
                <a:srgbClr val="212529"/>
              </a:solidFill>
              <a:effectLst/>
              <a:latin typeface="-apple-system"/>
            </a:rPr>
            <a:t>授权 </a:t>
          </a:r>
          <a:r>
            <a:rPr lang="en-US" altLang="zh-CN" sz="2800" i="0" kern="1200" dirty="0">
              <a:solidFill>
                <a:srgbClr val="212529"/>
              </a:solidFill>
              <a:effectLst/>
              <a:latin typeface="-apple-system"/>
            </a:rPr>
            <a:t>Authorization</a:t>
          </a:r>
          <a:endParaRPr lang="zh-CN" altLang="en-US" sz="2800" kern="1200" dirty="0"/>
        </a:p>
      </dsp:txBody>
      <dsp:txXfrm>
        <a:off x="48433" y="1951316"/>
        <a:ext cx="8040659" cy="895294"/>
      </dsp:txXfrm>
    </dsp:sp>
    <dsp:sp modelId="{627A95AF-3845-4090-A56E-36E6727EFACC}">
      <dsp:nvSpPr>
        <dsp:cNvPr id="0" name=""/>
        <dsp:cNvSpPr/>
      </dsp:nvSpPr>
      <dsp:spPr>
        <a:xfrm>
          <a:off x="0" y="2895043"/>
          <a:ext cx="8137525" cy="8776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8366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zh-CN" altLang="en-US" sz="2000" b="0" i="0" kern="1200" dirty="0"/>
            <a:t>确认</a:t>
          </a:r>
          <a:r>
            <a:rPr lang="zh-CN" altLang="en-US" sz="2000" b="1" i="0" kern="1200" dirty="0"/>
            <a:t>持有此身份的来者</a:t>
          </a:r>
          <a:r>
            <a:rPr lang="zh-CN" altLang="en-US" sz="2000" b="0" i="0" kern="1200" dirty="0"/>
            <a:t>能不能访问当前请求的资源</a:t>
          </a:r>
          <a:endParaRPr lang="zh-CN" altLang="en-US" sz="2000" kern="1200" dirty="0"/>
        </a:p>
      </dsp:txBody>
      <dsp:txXfrm>
        <a:off x="0" y="2895043"/>
        <a:ext cx="8137525" cy="8776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1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zh-cn/dotnet/csharp/language-reference/language-specification/types#open-and-closed-types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docs.microsoft.com/zh-cn/dotnet/csharp/language-reference/language-specification/types#constructed-types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如果采用对某个</a:t>
            </a:r>
            <a:r>
              <a:rPr lang="en-US" altLang="zh-CN" dirty="0"/>
              <a:t>identity</a:t>
            </a:r>
            <a:r>
              <a:rPr lang="zh-CN" altLang="en-US" dirty="0"/>
              <a:t>类进行逐一赋值，一是对用户，也就是二次开发人员不友好，容易遗漏</a:t>
            </a:r>
            <a:endParaRPr lang="en-US" altLang="zh-CN" dirty="0"/>
          </a:p>
          <a:p>
            <a:r>
              <a:rPr lang="zh-CN" altLang="en-US" dirty="0"/>
              <a:t>二是，这个</a:t>
            </a:r>
            <a:r>
              <a:rPr lang="en-US" altLang="zh-CN" dirty="0"/>
              <a:t>identity</a:t>
            </a:r>
            <a:r>
              <a:rPr lang="zh-CN" altLang="en-US" dirty="0"/>
              <a:t>类负责的事情太多了，不符合单一职责原则。</a:t>
            </a:r>
            <a:endParaRPr lang="en-US" altLang="zh-CN" dirty="0"/>
          </a:p>
          <a:p>
            <a:r>
              <a:rPr lang="zh-CN" altLang="en-US" dirty="0"/>
              <a:t>所以要采用</a:t>
            </a:r>
            <a:r>
              <a:rPr lang="en-US" altLang="zh-CN" dirty="0"/>
              <a:t>builder</a:t>
            </a:r>
            <a:r>
              <a:rPr lang="zh-CN" altLang="en-US" dirty="0"/>
              <a:t>模式，将构建过程和表现形式分离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185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1545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如果我采用这种方法，直接创建</a:t>
            </a:r>
            <a:r>
              <a:rPr lang="en-US" altLang="zh-CN" dirty="0" err="1"/>
              <a:t>UserManager</a:t>
            </a:r>
            <a:r>
              <a:rPr lang="zh-CN" altLang="en-US" dirty="0"/>
              <a:t>的实例以便使用它提供的方法，我要首先创建好</a:t>
            </a:r>
            <a:r>
              <a:rPr lang="en-US" altLang="zh-CN" dirty="0" err="1"/>
              <a:t>UserManager</a:t>
            </a:r>
            <a:r>
              <a:rPr lang="zh-CN" altLang="en-US" dirty="0"/>
              <a:t>依赖的对象，这导致依赖关系非常复杂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43717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以链式方式使用依赖关系注入并不罕见。 每个请求的依赖关系相应地请求其自己的依赖关系。 容器解析图中的依赖关系并返回完全解析的服务。 必须被解析的依赖关系的集合通常被称为“依赖关系树”、“依赖关系图”或“对象图”。</a:t>
            </a:r>
          </a:p>
          <a:p>
            <a:pPr algn="l"/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容器通过利用</a:t>
            </a:r>
            <a:r>
              <a:rPr lang="zh-CN" altLang="en-US" b="0" i="0" u="none" strike="noStrike" dirty="0">
                <a:solidFill>
                  <a:srgbClr val="171717"/>
                </a:solidFill>
                <a:effectLst/>
                <a:latin typeface="Segoe UI" panose="020B0502040204020203" pitchFamily="34" charset="0"/>
                <a:hlinkClick r:id="rId3"/>
              </a:rPr>
              <a:t>（泛型）开放类型</a:t>
            </a:r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解析 </a:t>
            </a:r>
            <a:r>
              <a:rPr lang="en-US" altLang="zh-CN" b="0" i="0" dirty="0" err="1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ILogger</a:t>
            </a:r>
            <a:r>
              <a:rPr lang="en-US" altLang="zh-CN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&lt;</a:t>
            </a:r>
            <a:r>
              <a:rPr lang="en-US" altLang="zh-CN" b="0" i="0" dirty="0" err="1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TCategoryName</a:t>
            </a:r>
            <a:r>
              <a:rPr lang="en-US" altLang="zh-CN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&gt;</a:t>
            </a:r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，而无需注册每个</a:t>
            </a:r>
            <a:r>
              <a:rPr lang="zh-CN" altLang="en-US" b="0" i="0" u="none" strike="noStrike" dirty="0">
                <a:solidFill>
                  <a:srgbClr val="171717"/>
                </a:solidFill>
                <a:effectLst/>
                <a:latin typeface="Segoe UI" panose="020B0502040204020203" pitchFamily="34" charset="0"/>
                <a:hlinkClick r:id="rId4"/>
              </a:rPr>
              <a:t>（泛型）构造类型</a:t>
            </a:r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。</a:t>
            </a:r>
          </a:p>
          <a:p>
            <a:pPr algn="l"/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在依赖项注入术语中，服务：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通常是向其他对象提供服务的对象，如 </a:t>
            </a:r>
            <a:r>
              <a:rPr lang="en-US" altLang="zh-CN" b="0" i="0" dirty="0" err="1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IMyDependency</a:t>
            </a:r>
            <a:r>
              <a:rPr lang="en-US" altLang="zh-CN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 </a:t>
            </a:r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服务。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与 </a:t>
            </a:r>
            <a:r>
              <a:rPr lang="en-US" altLang="zh-CN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Web </a:t>
            </a:r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服务无关，尽管服务可能使用 </a:t>
            </a:r>
            <a:r>
              <a:rPr lang="en-US" altLang="zh-CN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Web </a:t>
            </a:r>
            <a:r>
              <a:rPr lang="zh-CN" alt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服务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18949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依赖注入，函数委托，泛型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6458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38" name="图片 4137" descr="图片包含 摆满, 行李, 室内, 框&#10;&#10;已生成高可信度的说明">
            <a:extLst>
              <a:ext uri="{FF2B5EF4-FFF2-40B4-BE49-F238E27FC236}">
                <a16:creationId xmlns:a16="http://schemas.microsoft.com/office/drawing/2014/main" id="{C87FE7C7-3090-4F04-8C8B-CC00E3212D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2" r="9502"/>
          <a:stretch/>
        </p:blipFill>
        <p:spPr>
          <a:xfrm>
            <a:off x="-2" y="0"/>
            <a:ext cx="9149706" cy="6858000"/>
          </a:xfrm>
          <a:prstGeom prst="rect">
            <a:avLst/>
          </a:prstGeom>
        </p:spPr>
      </p:pic>
      <p:sp>
        <p:nvSpPr>
          <p:cNvPr id="4133" name="矩形 4132">
            <a:extLst>
              <a:ext uri="{FF2B5EF4-FFF2-40B4-BE49-F238E27FC236}">
                <a16:creationId xmlns:a16="http://schemas.microsoft.com/office/drawing/2014/main" id="{64D80D30-3EE3-4F05-B921-D52872F43000}"/>
              </a:ext>
            </a:extLst>
          </p:cNvPr>
          <p:cNvSpPr/>
          <p:nvPr userDrawn="1"/>
        </p:nvSpPr>
        <p:spPr>
          <a:xfrm>
            <a:off x="2850" y="0"/>
            <a:ext cx="9149706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029EDBAF-1216-4BD9-B0FB-C8F1499F85A8}"/>
              </a:ext>
            </a:extLst>
          </p:cNvPr>
          <p:cNvGrpSpPr/>
          <p:nvPr userDrawn="1"/>
        </p:nvGrpSpPr>
        <p:grpSpPr>
          <a:xfrm>
            <a:off x="2530799" y="1071061"/>
            <a:ext cx="4082402" cy="4715878"/>
            <a:chOff x="3861446" y="850855"/>
            <a:chExt cx="4469106" cy="5162588"/>
          </a:xfrm>
        </p:grpSpPr>
        <p:sp>
          <p:nvSpPr>
            <p:cNvPr id="25" name="Freeform 38">
              <a:extLst>
                <a:ext uri="{FF2B5EF4-FFF2-40B4-BE49-F238E27FC236}">
                  <a16:creationId xmlns:a16="http://schemas.microsoft.com/office/drawing/2014/main" id="{D54C9E61-6659-42C2-9680-4274EE6F7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6228" y="4272032"/>
              <a:ext cx="2864680" cy="1741411"/>
            </a:xfrm>
            <a:custGeom>
              <a:avLst/>
              <a:gdLst>
                <a:gd name="T0" fmla="*/ 1673 w 1673"/>
                <a:gd name="T1" fmla="*/ 0 h 1017"/>
                <a:gd name="T2" fmla="*/ 1668 w 1673"/>
                <a:gd name="T3" fmla="*/ 0 h 1017"/>
                <a:gd name="T4" fmla="*/ 1669 w 1673"/>
                <a:gd name="T5" fmla="*/ 3 h 1017"/>
                <a:gd name="T6" fmla="*/ 0 w 1673"/>
                <a:gd name="T7" fmla="*/ 0 h 1017"/>
                <a:gd name="T8" fmla="*/ 836 w 1673"/>
                <a:gd name="T9" fmla="*/ 1017 h 1017"/>
                <a:gd name="T10" fmla="*/ 1673 w 1673"/>
                <a:gd name="T11" fmla="*/ 0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3" h="1017">
                  <a:moveTo>
                    <a:pt x="1673" y="0"/>
                  </a:moveTo>
                  <a:lnTo>
                    <a:pt x="1668" y="0"/>
                  </a:lnTo>
                  <a:lnTo>
                    <a:pt x="1669" y="3"/>
                  </a:lnTo>
                  <a:lnTo>
                    <a:pt x="0" y="0"/>
                  </a:lnTo>
                  <a:lnTo>
                    <a:pt x="836" y="1017"/>
                  </a:lnTo>
                  <a:lnTo>
                    <a:pt x="1673" y="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39">
              <a:extLst>
                <a:ext uri="{FF2B5EF4-FFF2-40B4-BE49-F238E27FC236}">
                  <a16:creationId xmlns:a16="http://schemas.microsoft.com/office/drawing/2014/main" id="{13FD8B59-321E-4D0F-B90D-9447E0ED17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6228" y="4272032"/>
              <a:ext cx="2864680" cy="1741411"/>
            </a:xfrm>
            <a:custGeom>
              <a:avLst/>
              <a:gdLst>
                <a:gd name="T0" fmla="*/ 1673 w 1673"/>
                <a:gd name="T1" fmla="*/ 0 h 1017"/>
                <a:gd name="T2" fmla="*/ 1668 w 1673"/>
                <a:gd name="T3" fmla="*/ 0 h 1017"/>
                <a:gd name="T4" fmla="*/ 1669 w 1673"/>
                <a:gd name="T5" fmla="*/ 3 h 1017"/>
                <a:gd name="T6" fmla="*/ 0 w 1673"/>
                <a:gd name="T7" fmla="*/ 0 h 1017"/>
                <a:gd name="T8" fmla="*/ 836 w 1673"/>
                <a:gd name="T9" fmla="*/ 1017 h 1017"/>
                <a:gd name="T10" fmla="*/ 1673 w 1673"/>
                <a:gd name="T11" fmla="*/ 0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3" h="1017">
                  <a:moveTo>
                    <a:pt x="1673" y="0"/>
                  </a:moveTo>
                  <a:lnTo>
                    <a:pt x="1668" y="0"/>
                  </a:lnTo>
                  <a:lnTo>
                    <a:pt x="1669" y="3"/>
                  </a:lnTo>
                  <a:lnTo>
                    <a:pt x="0" y="0"/>
                  </a:lnTo>
                  <a:lnTo>
                    <a:pt x="836" y="1017"/>
                  </a:lnTo>
                  <a:lnTo>
                    <a:pt x="16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id="{FAC596F4-3EF2-4C56-B3BB-7BFBA1BA38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4515" y="1806319"/>
              <a:ext cx="2859543" cy="2470851"/>
            </a:xfrm>
            <a:custGeom>
              <a:avLst/>
              <a:gdLst>
                <a:gd name="T0" fmla="*/ 1670 w 1670"/>
                <a:gd name="T1" fmla="*/ 1443 h 1443"/>
                <a:gd name="T2" fmla="*/ 833 w 1670"/>
                <a:gd name="T3" fmla="*/ 0 h 1443"/>
                <a:gd name="T4" fmla="*/ 0 w 1670"/>
                <a:gd name="T5" fmla="*/ 1440 h 1443"/>
                <a:gd name="T6" fmla="*/ 1670 w 1670"/>
                <a:gd name="T7" fmla="*/ 144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70" h="1443">
                  <a:moveTo>
                    <a:pt x="1670" y="1443"/>
                  </a:moveTo>
                  <a:lnTo>
                    <a:pt x="833" y="0"/>
                  </a:lnTo>
                  <a:lnTo>
                    <a:pt x="0" y="1440"/>
                  </a:lnTo>
                  <a:lnTo>
                    <a:pt x="1670" y="144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42">
              <a:extLst>
                <a:ext uri="{FF2B5EF4-FFF2-40B4-BE49-F238E27FC236}">
                  <a16:creationId xmlns:a16="http://schemas.microsoft.com/office/drawing/2014/main" id="{818B8376-29D6-4D17-87F8-284FECB656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144" y="1806319"/>
              <a:ext cx="2205444" cy="2465713"/>
            </a:xfrm>
            <a:custGeom>
              <a:avLst/>
              <a:gdLst>
                <a:gd name="T0" fmla="*/ 1288 w 1288"/>
                <a:gd name="T1" fmla="*/ 0 h 1440"/>
                <a:gd name="T2" fmla="*/ 0 w 1288"/>
                <a:gd name="T3" fmla="*/ 212 h 1440"/>
                <a:gd name="T4" fmla="*/ 458 w 1288"/>
                <a:gd name="T5" fmla="*/ 1440 h 1440"/>
                <a:gd name="T6" fmla="*/ 1288 w 1288"/>
                <a:gd name="T7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8" h="1440">
                  <a:moveTo>
                    <a:pt x="1288" y="0"/>
                  </a:moveTo>
                  <a:lnTo>
                    <a:pt x="0" y="212"/>
                  </a:lnTo>
                  <a:lnTo>
                    <a:pt x="458" y="1440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43">
              <a:extLst>
                <a:ext uri="{FF2B5EF4-FFF2-40B4-BE49-F238E27FC236}">
                  <a16:creationId xmlns:a16="http://schemas.microsoft.com/office/drawing/2014/main" id="{FAC16E07-D07F-40F3-9855-DAC1583F30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144" y="1806319"/>
              <a:ext cx="2205444" cy="2465713"/>
            </a:xfrm>
            <a:custGeom>
              <a:avLst/>
              <a:gdLst>
                <a:gd name="T0" fmla="*/ 1288 w 1288"/>
                <a:gd name="T1" fmla="*/ 0 h 1440"/>
                <a:gd name="T2" fmla="*/ 0 w 1288"/>
                <a:gd name="T3" fmla="*/ 212 h 1440"/>
                <a:gd name="T4" fmla="*/ 458 w 1288"/>
                <a:gd name="T5" fmla="*/ 1440 h 1440"/>
                <a:gd name="T6" fmla="*/ 1288 w 1288"/>
                <a:gd name="T7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8" h="1440">
                  <a:moveTo>
                    <a:pt x="1288" y="0"/>
                  </a:moveTo>
                  <a:lnTo>
                    <a:pt x="0" y="212"/>
                  </a:lnTo>
                  <a:lnTo>
                    <a:pt x="458" y="1440"/>
                  </a:lnTo>
                  <a:lnTo>
                    <a:pt x="128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44">
              <a:extLst>
                <a:ext uri="{FF2B5EF4-FFF2-40B4-BE49-F238E27FC236}">
                  <a16:creationId xmlns:a16="http://schemas.microsoft.com/office/drawing/2014/main" id="{E7FC3F10-FA2D-4B17-AA2F-7FEEDFFA04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7985" y="1806319"/>
              <a:ext cx="2207157" cy="2465713"/>
            </a:xfrm>
            <a:custGeom>
              <a:avLst/>
              <a:gdLst>
                <a:gd name="T0" fmla="*/ 0 w 1289"/>
                <a:gd name="T1" fmla="*/ 0 h 1440"/>
                <a:gd name="T2" fmla="*/ 831 w 1289"/>
                <a:gd name="T3" fmla="*/ 1440 h 1440"/>
                <a:gd name="T4" fmla="*/ 1289 w 1289"/>
                <a:gd name="T5" fmla="*/ 212 h 1440"/>
                <a:gd name="T6" fmla="*/ 0 w 1289"/>
                <a:gd name="T7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9" h="1440">
                  <a:moveTo>
                    <a:pt x="0" y="0"/>
                  </a:moveTo>
                  <a:lnTo>
                    <a:pt x="831" y="1440"/>
                  </a:lnTo>
                  <a:lnTo>
                    <a:pt x="1289" y="2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45">
              <a:extLst>
                <a:ext uri="{FF2B5EF4-FFF2-40B4-BE49-F238E27FC236}">
                  <a16:creationId xmlns:a16="http://schemas.microsoft.com/office/drawing/2014/main" id="{AC0CAA4D-9415-44DC-9B93-3B79E1050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7985" y="1806319"/>
              <a:ext cx="2207157" cy="2465713"/>
            </a:xfrm>
            <a:custGeom>
              <a:avLst/>
              <a:gdLst>
                <a:gd name="T0" fmla="*/ 0 w 1289"/>
                <a:gd name="T1" fmla="*/ 0 h 1440"/>
                <a:gd name="T2" fmla="*/ 831 w 1289"/>
                <a:gd name="T3" fmla="*/ 1440 h 1440"/>
                <a:gd name="T4" fmla="*/ 1289 w 1289"/>
                <a:gd name="T5" fmla="*/ 212 h 1440"/>
                <a:gd name="T6" fmla="*/ 0 w 1289"/>
                <a:gd name="T7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9" h="1440">
                  <a:moveTo>
                    <a:pt x="0" y="0"/>
                  </a:moveTo>
                  <a:lnTo>
                    <a:pt x="831" y="1440"/>
                  </a:lnTo>
                  <a:lnTo>
                    <a:pt x="1289" y="21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46">
              <a:extLst>
                <a:ext uri="{FF2B5EF4-FFF2-40B4-BE49-F238E27FC236}">
                  <a16:creationId xmlns:a16="http://schemas.microsoft.com/office/drawing/2014/main" id="{8C7F80AA-D4AE-47B7-B23F-526869E038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5998" y="850855"/>
              <a:ext cx="2234554" cy="1313336"/>
            </a:xfrm>
            <a:custGeom>
              <a:avLst/>
              <a:gdLst>
                <a:gd name="T0" fmla="*/ 0 w 1305"/>
                <a:gd name="T1" fmla="*/ 0 h 767"/>
                <a:gd name="T2" fmla="*/ 0 w 1305"/>
                <a:gd name="T3" fmla="*/ 553 h 767"/>
                <a:gd name="T4" fmla="*/ 1305 w 1305"/>
                <a:gd name="T5" fmla="*/ 767 h 767"/>
                <a:gd name="T6" fmla="*/ 0 w 1305"/>
                <a:gd name="T7" fmla="*/ 0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5" h="767">
                  <a:moveTo>
                    <a:pt x="0" y="0"/>
                  </a:moveTo>
                  <a:lnTo>
                    <a:pt x="0" y="553"/>
                  </a:lnTo>
                  <a:lnTo>
                    <a:pt x="1305" y="7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47">
              <a:extLst>
                <a:ext uri="{FF2B5EF4-FFF2-40B4-BE49-F238E27FC236}">
                  <a16:creationId xmlns:a16="http://schemas.microsoft.com/office/drawing/2014/main" id="{977D745C-88E1-4CF8-9928-69F8FC2E51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1446" y="850855"/>
              <a:ext cx="2234554" cy="1313336"/>
            </a:xfrm>
            <a:custGeom>
              <a:avLst/>
              <a:gdLst>
                <a:gd name="T0" fmla="*/ 1305 w 1305"/>
                <a:gd name="T1" fmla="*/ 0 h 767"/>
                <a:gd name="T2" fmla="*/ 1305 w 1305"/>
                <a:gd name="T3" fmla="*/ 553 h 767"/>
                <a:gd name="T4" fmla="*/ 0 w 1305"/>
                <a:gd name="T5" fmla="*/ 767 h 767"/>
                <a:gd name="T6" fmla="*/ 1305 w 1305"/>
                <a:gd name="T7" fmla="*/ 0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5" h="767">
                  <a:moveTo>
                    <a:pt x="1305" y="0"/>
                  </a:moveTo>
                  <a:lnTo>
                    <a:pt x="1305" y="553"/>
                  </a:lnTo>
                  <a:lnTo>
                    <a:pt x="0" y="767"/>
                  </a:lnTo>
                  <a:lnTo>
                    <a:pt x="1305" y="0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48">
              <a:extLst>
                <a:ext uri="{FF2B5EF4-FFF2-40B4-BE49-F238E27FC236}">
                  <a16:creationId xmlns:a16="http://schemas.microsoft.com/office/drawing/2014/main" id="{DDC8E6D2-A831-4E15-B01E-96CF7C5D8F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1446" y="2164191"/>
              <a:ext cx="794508" cy="2566740"/>
            </a:xfrm>
            <a:custGeom>
              <a:avLst/>
              <a:gdLst>
                <a:gd name="T0" fmla="*/ 0 w 464"/>
                <a:gd name="T1" fmla="*/ 0 h 1499"/>
                <a:gd name="T2" fmla="*/ 0 w 464"/>
                <a:gd name="T3" fmla="*/ 1499 h 1499"/>
                <a:gd name="T4" fmla="*/ 464 w 464"/>
                <a:gd name="T5" fmla="*/ 1231 h 1499"/>
                <a:gd name="T6" fmla="*/ 0 w 464"/>
                <a:gd name="T7" fmla="*/ 0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4" h="1499">
                  <a:moveTo>
                    <a:pt x="0" y="0"/>
                  </a:moveTo>
                  <a:lnTo>
                    <a:pt x="0" y="1499"/>
                  </a:lnTo>
                  <a:lnTo>
                    <a:pt x="464" y="12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49">
              <a:extLst>
                <a:ext uri="{FF2B5EF4-FFF2-40B4-BE49-F238E27FC236}">
                  <a16:creationId xmlns:a16="http://schemas.microsoft.com/office/drawing/2014/main" id="{2A7BA467-C5B5-475D-B5D7-F5ECEB1AFE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61446" y="4272032"/>
              <a:ext cx="2234554" cy="1741411"/>
            </a:xfrm>
            <a:custGeom>
              <a:avLst/>
              <a:gdLst>
                <a:gd name="T0" fmla="*/ 1305 w 1305"/>
                <a:gd name="T1" fmla="*/ 1017 h 1017"/>
                <a:gd name="T2" fmla="*/ 0 w 1305"/>
                <a:gd name="T3" fmla="*/ 268 h 1017"/>
                <a:gd name="T4" fmla="*/ 464 w 1305"/>
                <a:gd name="T5" fmla="*/ 0 h 1017"/>
                <a:gd name="T6" fmla="*/ 1305 w 1305"/>
                <a:gd name="T7" fmla="*/ 101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5" h="1017">
                  <a:moveTo>
                    <a:pt x="1305" y="1017"/>
                  </a:moveTo>
                  <a:lnTo>
                    <a:pt x="0" y="268"/>
                  </a:lnTo>
                  <a:lnTo>
                    <a:pt x="464" y="0"/>
                  </a:lnTo>
                  <a:lnTo>
                    <a:pt x="1305" y="1017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50">
              <a:extLst>
                <a:ext uri="{FF2B5EF4-FFF2-40B4-BE49-F238E27FC236}">
                  <a16:creationId xmlns:a16="http://schemas.microsoft.com/office/drawing/2014/main" id="{E13F9883-BFB8-460A-A5B2-8F8EA561E0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5998" y="4272032"/>
              <a:ext cx="2234554" cy="1741411"/>
            </a:xfrm>
            <a:custGeom>
              <a:avLst/>
              <a:gdLst>
                <a:gd name="T0" fmla="*/ 840 w 1305"/>
                <a:gd name="T1" fmla="*/ 0 h 1017"/>
                <a:gd name="T2" fmla="*/ 0 w 1305"/>
                <a:gd name="T3" fmla="*/ 1017 h 1017"/>
                <a:gd name="T4" fmla="*/ 1305 w 1305"/>
                <a:gd name="T5" fmla="*/ 268 h 1017"/>
                <a:gd name="T6" fmla="*/ 840 w 1305"/>
                <a:gd name="T7" fmla="*/ 0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05" h="1017">
                  <a:moveTo>
                    <a:pt x="840" y="0"/>
                  </a:moveTo>
                  <a:lnTo>
                    <a:pt x="0" y="1017"/>
                  </a:lnTo>
                  <a:lnTo>
                    <a:pt x="1305" y="268"/>
                  </a:lnTo>
                  <a:lnTo>
                    <a:pt x="840" y="0"/>
                  </a:lnTo>
                  <a:close/>
                </a:path>
              </a:pathLst>
            </a:custGeom>
            <a:solidFill>
              <a:schemeClr val="accent2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51">
              <a:extLst>
                <a:ext uri="{FF2B5EF4-FFF2-40B4-BE49-F238E27FC236}">
                  <a16:creationId xmlns:a16="http://schemas.microsoft.com/office/drawing/2014/main" id="{4308CA61-5595-461F-B126-C185543F05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4331" y="2164191"/>
              <a:ext cx="796221" cy="2566740"/>
            </a:xfrm>
            <a:custGeom>
              <a:avLst/>
              <a:gdLst>
                <a:gd name="T0" fmla="*/ 465 w 465"/>
                <a:gd name="T1" fmla="*/ 0 h 1499"/>
                <a:gd name="T2" fmla="*/ 0 w 465"/>
                <a:gd name="T3" fmla="*/ 1231 h 1499"/>
                <a:gd name="T4" fmla="*/ 465 w 465"/>
                <a:gd name="T5" fmla="*/ 1499 h 1499"/>
                <a:gd name="T6" fmla="*/ 465 w 465"/>
                <a:gd name="T7" fmla="*/ 0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5" h="1499">
                  <a:moveTo>
                    <a:pt x="465" y="0"/>
                  </a:moveTo>
                  <a:lnTo>
                    <a:pt x="0" y="1231"/>
                  </a:lnTo>
                  <a:lnTo>
                    <a:pt x="465" y="1499"/>
                  </a:lnTo>
                  <a:lnTo>
                    <a:pt x="465" y="0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38" name="图片 37">
              <a:extLst>
                <a:ext uri="{FF2B5EF4-FFF2-40B4-BE49-F238E27FC236}">
                  <a16:creationId xmlns:a16="http://schemas.microsoft.com/office/drawing/2014/main" id="{E4401B0C-FC5A-4626-83BC-FD764982256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773" t="23485" r="36813" b="35171"/>
            <a:stretch/>
          </p:blipFill>
          <p:spPr>
            <a:xfrm>
              <a:off x="4688150" y="1780493"/>
              <a:ext cx="2835294" cy="2496314"/>
            </a:xfrm>
            <a:prstGeom prst="rect">
              <a:avLst/>
            </a:prstGeom>
          </p:spPr>
        </p:pic>
        <p:sp>
          <p:nvSpPr>
            <p:cNvPr id="39" name="Freeform 40">
              <a:extLst>
                <a:ext uri="{FF2B5EF4-FFF2-40B4-BE49-F238E27FC236}">
                  <a16:creationId xmlns:a16="http://schemas.microsoft.com/office/drawing/2014/main" id="{C1336158-61A5-40D1-86D6-C71E4C076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55954" y="1774194"/>
              <a:ext cx="2892351" cy="2499199"/>
            </a:xfrm>
            <a:custGeom>
              <a:avLst/>
              <a:gdLst>
                <a:gd name="T0" fmla="*/ 1670 w 1670"/>
                <a:gd name="T1" fmla="*/ 1443 h 1443"/>
                <a:gd name="T2" fmla="*/ 833 w 1670"/>
                <a:gd name="T3" fmla="*/ 0 h 1443"/>
                <a:gd name="T4" fmla="*/ 0 w 1670"/>
                <a:gd name="T5" fmla="*/ 1440 h 1443"/>
                <a:gd name="T6" fmla="*/ 1670 w 1670"/>
                <a:gd name="T7" fmla="*/ 144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70" h="1443">
                  <a:moveTo>
                    <a:pt x="1670" y="1443"/>
                  </a:moveTo>
                  <a:lnTo>
                    <a:pt x="833" y="0"/>
                  </a:lnTo>
                  <a:lnTo>
                    <a:pt x="0" y="1440"/>
                  </a:lnTo>
                  <a:lnTo>
                    <a:pt x="1670" y="1443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4136" name="矩形 4135">
            <a:extLst>
              <a:ext uri="{FF2B5EF4-FFF2-40B4-BE49-F238E27FC236}">
                <a16:creationId xmlns:a16="http://schemas.microsoft.com/office/drawing/2014/main" id="{62622D8D-F077-46DA-8E00-08BD7FE5F19A}"/>
              </a:ext>
            </a:extLst>
          </p:cNvPr>
          <p:cNvSpPr/>
          <p:nvPr userDrawn="1"/>
        </p:nvSpPr>
        <p:spPr>
          <a:xfrm>
            <a:off x="-14078" y="2467209"/>
            <a:ext cx="9144001" cy="1352672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504824" y="3313317"/>
            <a:ext cx="8134350" cy="37451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504824" y="2588794"/>
            <a:ext cx="8134350" cy="716488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04824" y="5522737"/>
            <a:ext cx="813435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4824" y="5819008"/>
            <a:ext cx="813435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 45">
            <a:extLst>
              <a:ext uri="{FF2B5EF4-FFF2-40B4-BE49-F238E27FC236}">
                <a16:creationId xmlns:a16="http://schemas.microsoft.com/office/drawing/2014/main" id="{2457C26B-AE86-4277-AB62-3BF332B8143A}"/>
              </a:ext>
            </a:extLst>
          </p:cNvPr>
          <p:cNvSpPr>
            <a:spLocks/>
          </p:cNvSpPr>
          <p:nvPr userDrawn="1"/>
        </p:nvSpPr>
        <p:spPr bwMode="auto">
          <a:xfrm>
            <a:off x="2565327" y="912128"/>
            <a:ext cx="1655368" cy="2465713"/>
          </a:xfrm>
          <a:custGeom>
            <a:avLst/>
            <a:gdLst>
              <a:gd name="T0" fmla="*/ 0 w 1289"/>
              <a:gd name="T1" fmla="*/ 0 h 1440"/>
              <a:gd name="T2" fmla="*/ 831 w 1289"/>
              <a:gd name="T3" fmla="*/ 1440 h 1440"/>
              <a:gd name="T4" fmla="*/ 1289 w 1289"/>
              <a:gd name="T5" fmla="*/ 212 h 1440"/>
              <a:gd name="T6" fmla="*/ 0 w 1289"/>
              <a:gd name="T7" fmla="*/ 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89" h="1440">
                <a:moveTo>
                  <a:pt x="0" y="0"/>
                </a:moveTo>
                <a:lnTo>
                  <a:pt x="831" y="1440"/>
                </a:lnTo>
                <a:lnTo>
                  <a:pt x="1289" y="21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  <p:pic>
        <p:nvPicPr>
          <p:cNvPr id="53" name="图片 52">
            <a:extLst>
              <a:ext uri="{FF2B5EF4-FFF2-40B4-BE49-F238E27FC236}">
                <a16:creationId xmlns:a16="http://schemas.microsoft.com/office/drawing/2014/main" id="{F0C95610-7D36-4871-A187-D1D86ACF3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73" t="23485" r="36813" b="35171"/>
          <a:stretch/>
        </p:blipFill>
        <p:spPr>
          <a:xfrm>
            <a:off x="5287639" y="2378546"/>
            <a:ext cx="3024815" cy="2663177"/>
          </a:xfrm>
          <a:prstGeom prst="rect">
            <a:avLst/>
          </a:prstGeom>
        </p:spPr>
      </p:pic>
      <p:sp>
        <p:nvSpPr>
          <p:cNvPr id="54" name="Freeform 5">
            <a:extLst>
              <a:ext uri="{FF2B5EF4-FFF2-40B4-BE49-F238E27FC236}">
                <a16:creationId xmlns:a16="http://schemas.microsoft.com/office/drawing/2014/main" id="{985C5D69-59E8-4D4B-8852-C1322A634EB8}"/>
              </a:ext>
            </a:extLst>
          </p:cNvPr>
          <p:cNvSpPr>
            <a:spLocks/>
          </p:cNvSpPr>
          <p:nvPr userDrawn="1"/>
        </p:nvSpPr>
        <p:spPr bwMode="auto">
          <a:xfrm>
            <a:off x="5235671" y="5013689"/>
            <a:ext cx="3063668" cy="1864564"/>
          </a:xfrm>
          <a:custGeom>
            <a:avLst/>
            <a:gdLst>
              <a:gd name="T0" fmla="*/ 1197 w 2394"/>
              <a:gd name="T1" fmla="*/ 1457 h 1457"/>
              <a:gd name="T2" fmla="*/ 2394 w 2394"/>
              <a:gd name="T3" fmla="*/ 0 h 1457"/>
              <a:gd name="T4" fmla="*/ 0 w 2394"/>
              <a:gd name="T5" fmla="*/ 0 h 1457"/>
              <a:gd name="T6" fmla="*/ 1197 w 2394"/>
              <a:gd name="T7" fmla="*/ 1457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94" h="1457">
                <a:moveTo>
                  <a:pt x="1197" y="1457"/>
                </a:moveTo>
                <a:lnTo>
                  <a:pt x="2394" y="0"/>
                </a:lnTo>
                <a:lnTo>
                  <a:pt x="0" y="0"/>
                </a:lnTo>
                <a:lnTo>
                  <a:pt x="1197" y="145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5" name="Freeform 6">
            <a:extLst>
              <a:ext uri="{FF2B5EF4-FFF2-40B4-BE49-F238E27FC236}">
                <a16:creationId xmlns:a16="http://schemas.microsoft.com/office/drawing/2014/main" id="{4C13013E-ADAC-4980-9C9A-991CFC2B7E8A}"/>
              </a:ext>
            </a:extLst>
          </p:cNvPr>
          <p:cNvSpPr>
            <a:spLocks/>
          </p:cNvSpPr>
          <p:nvPr userDrawn="1"/>
        </p:nvSpPr>
        <p:spPr bwMode="auto">
          <a:xfrm>
            <a:off x="5235671" y="5013689"/>
            <a:ext cx="3063668" cy="1864564"/>
          </a:xfrm>
          <a:custGeom>
            <a:avLst/>
            <a:gdLst>
              <a:gd name="T0" fmla="*/ 1197 w 2394"/>
              <a:gd name="T1" fmla="*/ 1457 h 1457"/>
              <a:gd name="T2" fmla="*/ 2394 w 2394"/>
              <a:gd name="T3" fmla="*/ 0 h 1457"/>
              <a:gd name="T4" fmla="*/ 0 w 2394"/>
              <a:gd name="T5" fmla="*/ 0 h 1457"/>
              <a:gd name="T6" fmla="*/ 1197 w 2394"/>
              <a:gd name="T7" fmla="*/ 1457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94" h="1457">
                <a:moveTo>
                  <a:pt x="1197" y="1457"/>
                </a:moveTo>
                <a:lnTo>
                  <a:pt x="2394" y="0"/>
                </a:lnTo>
                <a:lnTo>
                  <a:pt x="0" y="0"/>
                </a:lnTo>
                <a:lnTo>
                  <a:pt x="1197" y="145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6" name="Freeform 7">
            <a:extLst>
              <a:ext uri="{FF2B5EF4-FFF2-40B4-BE49-F238E27FC236}">
                <a16:creationId xmlns:a16="http://schemas.microsoft.com/office/drawing/2014/main" id="{B2580373-473F-4C59-848F-9C094AC75417}"/>
              </a:ext>
            </a:extLst>
          </p:cNvPr>
          <p:cNvSpPr>
            <a:spLocks/>
          </p:cNvSpPr>
          <p:nvPr userDrawn="1"/>
        </p:nvSpPr>
        <p:spPr bwMode="auto">
          <a:xfrm>
            <a:off x="5258539" y="2387505"/>
            <a:ext cx="3053430" cy="2637519"/>
          </a:xfrm>
          <a:custGeom>
            <a:avLst/>
            <a:gdLst>
              <a:gd name="T0" fmla="*/ 0 w 2386"/>
              <a:gd name="T1" fmla="*/ 2057 h 2061"/>
              <a:gd name="T2" fmla="*/ 1190 w 2386"/>
              <a:gd name="T3" fmla="*/ 0 h 2061"/>
              <a:gd name="T4" fmla="*/ 2386 w 2386"/>
              <a:gd name="T5" fmla="*/ 2061 h 2061"/>
              <a:gd name="T6" fmla="*/ 0 w 2386"/>
              <a:gd name="T7" fmla="*/ 2057 h 20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86" h="2061">
                <a:moveTo>
                  <a:pt x="0" y="2057"/>
                </a:moveTo>
                <a:lnTo>
                  <a:pt x="1190" y="0"/>
                </a:lnTo>
                <a:lnTo>
                  <a:pt x="2386" y="2061"/>
                </a:lnTo>
                <a:lnTo>
                  <a:pt x="0" y="2057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7" name="Freeform 8">
            <a:extLst>
              <a:ext uri="{FF2B5EF4-FFF2-40B4-BE49-F238E27FC236}">
                <a16:creationId xmlns:a16="http://schemas.microsoft.com/office/drawing/2014/main" id="{14BD5A8E-0112-4141-A871-C0BC7AE2675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259439" y="2382386"/>
            <a:ext cx="3061109" cy="2645198"/>
          </a:xfrm>
          <a:custGeom>
            <a:avLst/>
            <a:gdLst>
              <a:gd name="T0" fmla="*/ 1193 w 2392"/>
              <a:gd name="T1" fmla="*/ 8 h 2067"/>
              <a:gd name="T2" fmla="*/ 2385 w 2392"/>
              <a:gd name="T3" fmla="*/ 2063 h 2067"/>
              <a:gd name="T4" fmla="*/ 7 w 2392"/>
              <a:gd name="T5" fmla="*/ 2059 h 2067"/>
              <a:gd name="T6" fmla="*/ 1193 w 2392"/>
              <a:gd name="T7" fmla="*/ 8 h 2067"/>
              <a:gd name="T8" fmla="*/ 1193 w 2392"/>
              <a:gd name="T9" fmla="*/ 0 h 2067"/>
              <a:gd name="T10" fmla="*/ 0 w 2392"/>
              <a:gd name="T11" fmla="*/ 2063 h 2067"/>
              <a:gd name="T12" fmla="*/ 2392 w 2392"/>
              <a:gd name="T13" fmla="*/ 2067 h 2067"/>
              <a:gd name="T14" fmla="*/ 1193 w 2392"/>
              <a:gd name="T15" fmla="*/ 0 h 2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392" h="2067">
                <a:moveTo>
                  <a:pt x="1193" y="8"/>
                </a:moveTo>
                <a:lnTo>
                  <a:pt x="2385" y="2063"/>
                </a:lnTo>
                <a:lnTo>
                  <a:pt x="7" y="2059"/>
                </a:lnTo>
                <a:lnTo>
                  <a:pt x="1193" y="8"/>
                </a:lnTo>
                <a:close/>
                <a:moveTo>
                  <a:pt x="1193" y="0"/>
                </a:moveTo>
                <a:lnTo>
                  <a:pt x="0" y="2063"/>
                </a:lnTo>
                <a:lnTo>
                  <a:pt x="2392" y="2067"/>
                </a:lnTo>
                <a:lnTo>
                  <a:pt x="11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8" name="Freeform 9">
            <a:extLst>
              <a:ext uri="{FF2B5EF4-FFF2-40B4-BE49-F238E27FC236}">
                <a16:creationId xmlns:a16="http://schemas.microsoft.com/office/drawing/2014/main" id="{1AEF60A1-EF45-4096-BBC2-6C82325283C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259439" y="2382386"/>
            <a:ext cx="3061109" cy="2645198"/>
          </a:xfrm>
          <a:custGeom>
            <a:avLst/>
            <a:gdLst>
              <a:gd name="T0" fmla="*/ 1193 w 2392"/>
              <a:gd name="T1" fmla="*/ 8 h 2067"/>
              <a:gd name="T2" fmla="*/ 2385 w 2392"/>
              <a:gd name="T3" fmla="*/ 2063 h 2067"/>
              <a:gd name="T4" fmla="*/ 7 w 2392"/>
              <a:gd name="T5" fmla="*/ 2059 h 2067"/>
              <a:gd name="T6" fmla="*/ 1193 w 2392"/>
              <a:gd name="T7" fmla="*/ 8 h 2067"/>
              <a:gd name="T8" fmla="*/ 1193 w 2392"/>
              <a:gd name="T9" fmla="*/ 0 h 2067"/>
              <a:gd name="T10" fmla="*/ 0 w 2392"/>
              <a:gd name="T11" fmla="*/ 2063 h 2067"/>
              <a:gd name="T12" fmla="*/ 2392 w 2392"/>
              <a:gd name="T13" fmla="*/ 2067 h 2067"/>
              <a:gd name="T14" fmla="*/ 1193 w 2392"/>
              <a:gd name="T15" fmla="*/ 0 h 2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392" h="2067">
                <a:moveTo>
                  <a:pt x="1193" y="8"/>
                </a:moveTo>
                <a:lnTo>
                  <a:pt x="2385" y="2063"/>
                </a:lnTo>
                <a:lnTo>
                  <a:pt x="7" y="2059"/>
                </a:lnTo>
                <a:lnTo>
                  <a:pt x="1193" y="8"/>
                </a:lnTo>
                <a:moveTo>
                  <a:pt x="1193" y="0"/>
                </a:moveTo>
                <a:lnTo>
                  <a:pt x="0" y="2063"/>
                </a:lnTo>
                <a:lnTo>
                  <a:pt x="2392" y="2067"/>
                </a:lnTo>
                <a:lnTo>
                  <a:pt x="119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9" name="Freeform 10">
            <a:extLst>
              <a:ext uri="{FF2B5EF4-FFF2-40B4-BE49-F238E27FC236}">
                <a16:creationId xmlns:a16="http://schemas.microsoft.com/office/drawing/2014/main" id="{A639989A-0597-498D-B0C2-F31F35A17B1C}"/>
              </a:ext>
            </a:extLst>
          </p:cNvPr>
          <p:cNvSpPr>
            <a:spLocks/>
          </p:cNvSpPr>
          <p:nvPr userDrawn="1"/>
        </p:nvSpPr>
        <p:spPr bwMode="auto">
          <a:xfrm>
            <a:off x="6786518" y="2391161"/>
            <a:ext cx="2362377" cy="2640079"/>
          </a:xfrm>
          <a:custGeom>
            <a:avLst/>
            <a:gdLst>
              <a:gd name="T0" fmla="*/ 1846 w 1846"/>
              <a:gd name="T1" fmla="*/ 304 h 2063"/>
              <a:gd name="T2" fmla="*/ 1190 w 1846"/>
              <a:gd name="T3" fmla="*/ 2063 h 2063"/>
              <a:gd name="T4" fmla="*/ 0 w 1846"/>
              <a:gd name="T5" fmla="*/ 0 h 2063"/>
              <a:gd name="T6" fmla="*/ 1846 w 1846"/>
              <a:gd name="T7" fmla="*/ 304 h 2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46" h="2063">
                <a:moveTo>
                  <a:pt x="1846" y="304"/>
                </a:moveTo>
                <a:lnTo>
                  <a:pt x="1190" y="2063"/>
                </a:lnTo>
                <a:lnTo>
                  <a:pt x="0" y="0"/>
                </a:lnTo>
                <a:lnTo>
                  <a:pt x="1846" y="304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0" name="Freeform 11">
            <a:extLst>
              <a:ext uri="{FF2B5EF4-FFF2-40B4-BE49-F238E27FC236}">
                <a16:creationId xmlns:a16="http://schemas.microsoft.com/office/drawing/2014/main" id="{73C2BBA9-FB05-4EAD-A74C-EFED1DD88F58}"/>
              </a:ext>
            </a:extLst>
          </p:cNvPr>
          <p:cNvSpPr>
            <a:spLocks/>
          </p:cNvSpPr>
          <p:nvPr userDrawn="1"/>
        </p:nvSpPr>
        <p:spPr bwMode="auto">
          <a:xfrm>
            <a:off x="6781217" y="1385114"/>
            <a:ext cx="2391811" cy="1406421"/>
          </a:xfrm>
          <a:custGeom>
            <a:avLst/>
            <a:gdLst>
              <a:gd name="T0" fmla="*/ 0 w 1869"/>
              <a:gd name="T1" fmla="*/ 0 h 1099"/>
              <a:gd name="T2" fmla="*/ 0 w 1869"/>
              <a:gd name="T3" fmla="*/ 792 h 1099"/>
              <a:gd name="T4" fmla="*/ 1869 w 1869"/>
              <a:gd name="T5" fmla="*/ 1099 h 1099"/>
              <a:gd name="T6" fmla="*/ 0 w 1869"/>
              <a:gd name="T7" fmla="*/ 0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69" h="1099">
                <a:moveTo>
                  <a:pt x="0" y="0"/>
                </a:moveTo>
                <a:lnTo>
                  <a:pt x="0" y="792"/>
                </a:lnTo>
                <a:lnTo>
                  <a:pt x="1869" y="10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1" name="Freeform 12">
            <a:extLst>
              <a:ext uri="{FF2B5EF4-FFF2-40B4-BE49-F238E27FC236}">
                <a16:creationId xmlns:a16="http://schemas.microsoft.com/office/drawing/2014/main" id="{2D08E3B7-4FE2-4DAB-932F-91538AEE7FAE}"/>
              </a:ext>
            </a:extLst>
          </p:cNvPr>
          <p:cNvSpPr>
            <a:spLocks/>
          </p:cNvSpPr>
          <p:nvPr userDrawn="1"/>
        </p:nvSpPr>
        <p:spPr bwMode="auto">
          <a:xfrm>
            <a:off x="6764946" y="1349828"/>
            <a:ext cx="2391811" cy="1406421"/>
          </a:xfrm>
          <a:custGeom>
            <a:avLst/>
            <a:gdLst>
              <a:gd name="T0" fmla="*/ 0 w 1869"/>
              <a:gd name="T1" fmla="*/ 0 h 1099"/>
              <a:gd name="T2" fmla="*/ 0 w 1869"/>
              <a:gd name="T3" fmla="*/ 792 h 1099"/>
              <a:gd name="T4" fmla="*/ 1869 w 1869"/>
              <a:gd name="T5" fmla="*/ 1099 h 1099"/>
              <a:gd name="T6" fmla="*/ 0 w 1869"/>
              <a:gd name="T7" fmla="*/ 0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69" h="1099">
                <a:moveTo>
                  <a:pt x="0" y="0"/>
                </a:moveTo>
                <a:lnTo>
                  <a:pt x="0" y="792"/>
                </a:lnTo>
                <a:lnTo>
                  <a:pt x="1869" y="1099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2" name="Freeform 13">
            <a:extLst>
              <a:ext uri="{FF2B5EF4-FFF2-40B4-BE49-F238E27FC236}">
                <a16:creationId xmlns:a16="http://schemas.microsoft.com/office/drawing/2014/main" id="{DD1CFF4F-F7F4-43B6-B8D0-7041B3AC1B67}"/>
              </a:ext>
            </a:extLst>
          </p:cNvPr>
          <p:cNvSpPr>
            <a:spLocks/>
          </p:cNvSpPr>
          <p:nvPr userDrawn="1"/>
        </p:nvSpPr>
        <p:spPr bwMode="auto">
          <a:xfrm>
            <a:off x="4381910" y="5013689"/>
            <a:ext cx="2391811" cy="1864564"/>
          </a:xfrm>
          <a:custGeom>
            <a:avLst/>
            <a:gdLst>
              <a:gd name="T0" fmla="*/ 665 w 1869"/>
              <a:gd name="T1" fmla="*/ 0 h 1457"/>
              <a:gd name="T2" fmla="*/ 0 w 1869"/>
              <a:gd name="T3" fmla="*/ 383 h 1457"/>
              <a:gd name="T4" fmla="*/ 1869 w 1869"/>
              <a:gd name="T5" fmla="*/ 1457 h 1457"/>
              <a:gd name="T6" fmla="*/ 665 w 1869"/>
              <a:gd name="T7" fmla="*/ 0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69" h="1457">
                <a:moveTo>
                  <a:pt x="665" y="0"/>
                </a:moveTo>
                <a:lnTo>
                  <a:pt x="0" y="383"/>
                </a:lnTo>
                <a:lnTo>
                  <a:pt x="1869" y="1457"/>
                </a:lnTo>
                <a:lnTo>
                  <a:pt x="665" y="0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3" name="Freeform 14">
            <a:extLst>
              <a:ext uri="{FF2B5EF4-FFF2-40B4-BE49-F238E27FC236}">
                <a16:creationId xmlns:a16="http://schemas.microsoft.com/office/drawing/2014/main" id="{15C4BCD4-4A25-4E9E-AF49-0B7D770142B5}"/>
              </a:ext>
            </a:extLst>
          </p:cNvPr>
          <p:cNvSpPr>
            <a:spLocks/>
          </p:cNvSpPr>
          <p:nvPr userDrawn="1"/>
        </p:nvSpPr>
        <p:spPr bwMode="auto">
          <a:xfrm>
            <a:off x="4373135" y="5013689"/>
            <a:ext cx="2391811" cy="1864564"/>
          </a:xfrm>
          <a:custGeom>
            <a:avLst/>
            <a:gdLst>
              <a:gd name="T0" fmla="*/ 665 w 1869"/>
              <a:gd name="T1" fmla="*/ 0 h 1457"/>
              <a:gd name="T2" fmla="*/ 0 w 1869"/>
              <a:gd name="T3" fmla="*/ 383 h 1457"/>
              <a:gd name="T4" fmla="*/ 1869 w 1869"/>
              <a:gd name="T5" fmla="*/ 1457 h 1457"/>
              <a:gd name="T6" fmla="*/ 665 w 1869"/>
              <a:gd name="T7" fmla="*/ 0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69" h="1457">
                <a:moveTo>
                  <a:pt x="665" y="0"/>
                </a:moveTo>
                <a:lnTo>
                  <a:pt x="0" y="383"/>
                </a:lnTo>
                <a:lnTo>
                  <a:pt x="1869" y="1457"/>
                </a:lnTo>
                <a:lnTo>
                  <a:pt x="66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Freeform 15">
            <a:extLst>
              <a:ext uri="{FF2B5EF4-FFF2-40B4-BE49-F238E27FC236}">
                <a16:creationId xmlns:a16="http://schemas.microsoft.com/office/drawing/2014/main" id="{228AAD9B-DA4B-4277-8968-E16EF309B1A7}"/>
              </a:ext>
            </a:extLst>
          </p:cNvPr>
          <p:cNvSpPr>
            <a:spLocks/>
          </p:cNvSpPr>
          <p:nvPr userDrawn="1"/>
        </p:nvSpPr>
        <p:spPr bwMode="auto">
          <a:xfrm>
            <a:off x="6766408" y="5017528"/>
            <a:ext cx="2376455" cy="1851766"/>
          </a:xfrm>
          <a:custGeom>
            <a:avLst/>
            <a:gdLst>
              <a:gd name="T0" fmla="*/ 1195 w 1857"/>
              <a:gd name="T1" fmla="*/ 0 h 1447"/>
              <a:gd name="T2" fmla="*/ 1857 w 1857"/>
              <a:gd name="T3" fmla="*/ 380 h 1447"/>
              <a:gd name="T4" fmla="*/ 0 w 1857"/>
              <a:gd name="T5" fmla="*/ 1447 h 1447"/>
              <a:gd name="T6" fmla="*/ 1195 w 1857"/>
              <a:gd name="T7" fmla="*/ 0 h 1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57" h="1447">
                <a:moveTo>
                  <a:pt x="1195" y="0"/>
                </a:moveTo>
                <a:lnTo>
                  <a:pt x="1857" y="380"/>
                </a:lnTo>
                <a:lnTo>
                  <a:pt x="0" y="1447"/>
                </a:lnTo>
                <a:lnTo>
                  <a:pt x="1195" y="0"/>
                </a:ln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5" name="Freeform 16">
            <a:extLst>
              <a:ext uri="{FF2B5EF4-FFF2-40B4-BE49-F238E27FC236}">
                <a16:creationId xmlns:a16="http://schemas.microsoft.com/office/drawing/2014/main" id="{E64C545A-7162-48F4-BEFA-1D33DD2B16D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764946" y="5013689"/>
            <a:ext cx="2391811" cy="1864564"/>
          </a:xfrm>
          <a:custGeom>
            <a:avLst/>
            <a:gdLst>
              <a:gd name="T0" fmla="*/ 1204 w 1869"/>
              <a:gd name="T1" fmla="*/ 5 h 1457"/>
              <a:gd name="T2" fmla="*/ 1861 w 1869"/>
              <a:gd name="T3" fmla="*/ 383 h 1457"/>
              <a:gd name="T4" fmla="*/ 17 w 1869"/>
              <a:gd name="T5" fmla="*/ 1443 h 1457"/>
              <a:gd name="T6" fmla="*/ 1204 w 1869"/>
              <a:gd name="T7" fmla="*/ 5 h 1457"/>
              <a:gd name="T8" fmla="*/ 1203 w 1869"/>
              <a:gd name="T9" fmla="*/ 0 h 1457"/>
              <a:gd name="T10" fmla="*/ 0 w 1869"/>
              <a:gd name="T11" fmla="*/ 1457 h 1457"/>
              <a:gd name="T12" fmla="*/ 1869 w 1869"/>
              <a:gd name="T13" fmla="*/ 383 h 1457"/>
              <a:gd name="T14" fmla="*/ 1203 w 1869"/>
              <a:gd name="T15" fmla="*/ 0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9" h="1457">
                <a:moveTo>
                  <a:pt x="1204" y="5"/>
                </a:moveTo>
                <a:lnTo>
                  <a:pt x="1861" y="383"/>
                </a:lnTo>
                <a:lnTo>
                  <a:pt x="17" y="1443"/>
                </a:lnTo>
                <a:lnTo>
                  <a:pt x="1204" y="5"/>
                </a:lnTo>
                <a:close/>
                <a:moveTo>
                  <a:pt x="1203" y="0"/>
                </a:moveTo>
                <a:lnTo>
                  <a:pt x="0" y="1457"/>
                </a:lnTo>
                <a:lnTo>
                  <a:pt x="1869" y="383"/>
                </a:lnTo>
                <a:lnTo>
                  <a:pt x="120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6" name="Freeform 17">
            <a:extLst>
              <a:ext uri="{FF2B5EF4-FFF2-40B4-BE49-F238E27FC236}">
                <a16:creationId xmlns:a16="http://schemas.microsoft.com/office/drawing/2014/main" id="{771A4EAD-FCC3-4D0F-8AFD-575DE81EC7B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764946" y="5013689"/>
            <a:ext cx="2391811" cy="1864564"/>
          </a:xfrm>
          <a:custGeom>
            <a:avLst/>
            <a:gdLst>
              <a:gd name="T0" fmla="*/ 1204 w 1869"/>
              <a:gd name="T1" fmla="*/ 5 h 1457"/>
              <a:gd name="T2" fmla="*/ 1861 w 1869"/>
              <a:gd name="T3" fmla="*/ 383 h 1457"/>
              <a:gd name="T4" fmla="*/ 17 w 1869"/>
              <a:gd name="T5" fmla="*/ 1443 h 1457"/>
              <a:gd name="T6" fmla="*/ 1204 w 1869"/>
              <a:gd name="T7" fmla="*/ 5 h 1457"/>
              <a:gd name="T8" fmla="*/ 1203 w 1869"/>
              <a:gd name="T9" fmla="*/ 0 h 1457"/>
              <a:gd name="T10" fmla="*/ 0 w 1869"/>
              <a:gd name="T11" fmla="*/ 1457 h 1457"/>
              <a:gd name="T12" fmla="*/ 1869 w 1869"/>
              <a:gd name="T13" fmla="*/ 383 h 1457"/>
              <a:gd name="T14" fmla="*/ 1203 w 1869"/>
              <a:gd name="T15" fmla="*/ 0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9" h="1457">
                <a:moveTo>
                  <a:pt x="1204" y="5"/>
                </a:moveTo>
                <a:lnTo>
                  <a:pt x="1861" y="383"/>
                </a:lnTo>
                <a:lnTo>
                  <a:pt x="17" y="1443"/>
                </a:lnTo>
                <a:lnTo>
                  <a:pt x="1204" y="5"/>
                </a:lnTo>
                <a:moveTo>
                  <a:pt x="1203" y="0"/>
                </a:moveTo>
                <a:lnTo>
                  <a:pt x="0" y="1457"/>
                </a:lnTo>
                <a:lnTo>
                  <a:pt x="1869" y="383"/>
                </a:lnTo>
                <a:lnTo>
                  <a:pt x="120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7" name="Freeform 18">
            <a:extLst>
              <a:ext uri="{FF2B5EF4-FFF2-40B4-BE49-F238E27FC236}">
                <a16:creationId xmlns:a16="http://schemas.microsoft.com/office/drawing/2014/main" id="{7CD70E6C-681C-4736-9A87-51A6D31D768D}"/>
              </a:ext>
            </a:extLst>
          </p:cNvPr>
          <p:cNvSpPr>
            <a:spLocks/>
          </p:cNvSpPr>
          <p:nvPr userDrawn="1"/>
        </p:nvSpPr>
        <p:spPr bwMode="auto">
          <a:xfrm>
            <a:off x="8298242" y="2779101"/>
            <a:ext cx="847180" cy="2729660"/>
          </a:xfrm>
          <a:custGeom>
            <a:avLst/>
            <a:gdLst>
              <a:gd name="T0" fmla="*/ 0 w 662"/>
              <a:gd name="T1" fmla="*/ 1752 h 2133"/>
              <a:gd name="T2" fmla="*/ 662 w 662"/>
              <a:gd name="T3" fmla="*/ 0 h 2133"/>
              <a:gd name="T4" fmla="*/ 662 w 662"/>
              <a:gd name="T5" fmla="*/ 2133 h 2133"/>
              <a:gd name="T6" fmla="*/ 0 w 662"/>
              <a:gd name="T7" fmla="*/ 1752 h 2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62" h="2133">
                <a:moveTo>
                  <a:pt x="0" y="1752"/>
                </a:moveTo>
                <a:lnTo>
                  <a:pt x="662" y="0"/>
                </a:lnTo>
                <a:lnTo>
                  <a:pt x="662" y="2133"/>
                </a:lnTo>
                <a:lnTo>
                  <a:pt x="0" y="175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8" name="Freeform 19">
            <a:extLst>
              <a:ext uri="{FF2B5EF4-FFF2-40B4-BE49-F238E27FC236}">
                <a16:creationId xmlns:a16="http://schemas.microsoft.com/office/drawing/2014/main" id="{976A8959-87F7-4667-8374-F07F73E327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04458" y="2756249"/>
            <a:ext cx="852299" cy="2747576"/>
          </a:xfrm>
          <a:custGeom>
            <a:avLst/>
            <a:gdLst>
              <a:gd name="T0" fmla="*/ 662 w 666"/>
              <a:gd name="T1" fmla="*/ 22 h 2147"/>
              <a:gd name="T2" fmla="*/ 662 w 666"/>
              <a:gd name="T3" fmla="*/ 2140 h 2147"/>
              <a:gd name="T4" fmla="*/ 5 w 666"/>
              <a:gd name="T5" fmla="*/ 1762 h 2147"/>
              <a:gd name="T6" fmla="*/ 662 w 666"/>
              <a:gd name="T7" fmla="*/ 22 h 2147"/>
              <a:gd name="T8" fmla="*/ 666 w 666"/>
              <a:gd name="T9" fmla="*/ 0 h 2147"/>
              <a:gd name="T10" fmla="*/ 0 w 666"/>
              <a:gd name="T11" fmla="*/ 1764 h 2147"/>
              <a:gd name="T12" fmla="*/ 666 w 666"/>
              <a:gd name="T13" fmla="*/ 2147 h 2147"/>
              <a:gd name="T14" fmla="*/ 666 w 666"/>
              <a:gd name="T15" fmla="*/ 0 h 2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66" h="2147">
                <a:moveTo>
                  <a:pt x="662" y="22"/>
                </a:moveTo>
                <a:lnTo>
                  <a:pt x="662" y="2140"/>
                </a:lnTo>
                <a:lnTo>
                  <a:pt x="5" y="1762"/>
                </a:lnTo>
                <a:lnTo>
                  <a:pt x="662" y="22"/>
                </a:lnTo>
                <a:close/>
                <a:moveTo>
                  <a:pt x="666" y="0"/>
                </a:moveTo>
                <a:lnTo>
                  <a:pt x="0" y="1764"/>
                </a:lnTo>
                <a:lnTo>
                  <a:pt x="666" y="2147"/>
                </a:lnTo>
                <a:lnTo>
                  <a:pt x="66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9" name="Freeform 20">
            <a:extLst>
              <a:ext uri="{FF2B5EF4-FFF2-40B4-BE49-F238E27FC236}">
                <a16:creationId xmlns:a16="http://schemas.microsoft.com/office/drawing/2014/main" id="{933433E9-D181-4CC4-AF88-9D00E26424A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04458" y="2756249"/>
            <a:ext cx="852299" cy="2747576"/>
          </a:xfrm>
          <a:custGeom>
            <a:avLst/>
            <a:gdLst>
              <a:gd name="T0" fmla="*/ 662 w 666"/>
              <a:gd name="T1" fmla="*/ 22 h 2147"/>
              <a:gd name="T2" fmla="*/ 662 w 666"/>
              <a:gd name="T3" fmla="*/ 2140 h 2147"/>
              <a:gd name="T4" fmla="*/ 5 w 666"/>
              <a:gd name="T5" fmla="*/ 1762 h 2147"/>
              <a:gd name="T6" fmla="*/ 662 w 666"/>
              <a:gd name="T7" fmla="*/ 22 h 2147"/>
              <a:gd name="T8" fmla="*/ 666 w 666"/>
              <a:gd name="T9" fmla="*/ 0 h 2147"/>
              <a:gd name="T10" fmla="*/ 0 w 666"/>
              <a:gd name="T11" fmla="*/ 1764 h 2147"/>
              <a:gd name="T12" fmla="*/ 666 w 666"/>
              <a:gd name="T13" fmla="*/ 2147 h 2147"/>
              <a:gd name="T14" fmla="*/ 666 w 666"/>
              <a:gd name="T15" fmla="*/ 0 h 2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66" h="2147">
                <a:moveTo>
                  <a:pt x="662" y="22"/>
                </a:moveTo>
                <a:lnTo>
                  <a:pt x="662" y="2140"/>
                </a:lnTo>
                <a:lnTo>
                  <a:pt x="5" y="1762"/>
                </a:lnTo>
                <a:lnTo>
                  <a:pt x="662" y="22"/>
                </a:lnTo>
                <a:moveTo>
                  <a:pt x="666" y="0"/>
                </a:moveTo>
                <a:lnTo>
                  <a:pt x="0" y="1764"/>
                </a:lnTo>
                <a:lnTo>
                  <a:pt x="666" y="2147"/>
                </a:lnTo>
                <a:lnTo>
                  <a:pt x="66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4" name="任意多边形: 形状 73">
            <a:extLst>
              <a:ext uri="{FF2B5EF4-FFF2-40B4-BE49-F238E27FC236}">
                <a16:creationId xmlns:a16="http://schemas.microsoft.com/office/drawing/2014/main" id="{560B3F37-C86B-4E4D-97E2-68103F962700}"/>
              </a:ext>
            </a:extLst>
          </p:cNvPr>
          <p:cNvSpPr>
            <a:spLocks/>
          </p:cNvSpPr>
          <p:nvPr userDrawn="1"/>
        </p:nvSpPr>
        <p:spPr bwMode="auto">
          <a:xfrm>
            <a:off x="0" y="5508741"/>
            <a:ext cx="6794360" cy="1378287"/>
          </a:xfrm>
          <a:custGeom>
            <a:avLst/>
            <a:gdLst>
              <a:gd name="connsiteX0" fmla="*/ 4393064 w 6794360"/>
              <a:gd name="connsiteY0" fmla="*/ 0 h 1378287"/>
              <a:gd name="connsiteX1" fmla="*/ 6794360 w 6794360"/>
              <a:gd name="connsiteY1" fmla="*/ 1378287 h 1378287"/>
              <a:gd name="connsiteX2" fmla="*/ 0 w 6794360"/>
              <a:gd name="connsiteY2" fmla="*/ 1378287 h 1378287"/>
              <a:gd name="connsiteX3" fmla="*/ 0 w 6794360"/>
              <a:gd name="connsiteY3" fmla="*/ 1193511 h 1378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94360" h="1378287">
                <a:moveTo>
                  <a:pt x="4393064" y="0"/>
                </a:moveTo>
                <a:lnTo>
                  <a:pt x="6794360" y="1378287"/>
                </a:lnTo>
                <a:lnTo>
                  <a:pt x="0" y="1378287"/>
                </a:lnTo>
                <a:lnTo>
                  <a:pt x="0" y="119351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038035" y="2496941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038872" y="3392292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  <a:lvl2pPr marL="3428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1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1/15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图片包含 摆满, 行李, 室内, 框&#10;&#10;已生成高可信度的说明">
            <a:extLst>
              <a:ext uri="{FF2B5EF4-FFF2-40B4-BE49-F238E27FC236}">
                <a16:creationId xmlns:a16="http://schemas.microsoft.com/office/drawing/2014/main" id="{76C60C5A-C79D-4330-A04D-C1A5359092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2" r="9502"/>
          <a:stretch/>
        </p:blipFill>
        <p:spPr>
          <a:xfrm>
            <a:off x="-2" y="0"/>
            <a:ext cx="9149706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C967DA9F-A420-418C-A9A6-2F5477526418}"/>
              </a:ext>
            </a:extLst>
          </p:cNvPr>
          <p:cNvSpPr/>
          <p:nvPr userDrawn="1"/>
        </p:nvSpPr>
        <p:spPr>
          <a:xfrm>
            <a:off x="0" y="0"/>
            <a:ext cx="9149706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72B19B9-0D36-4E58-BFA3-55C81DD6AB04}"/>
              </a:ext>
            </a:extLst>
          </p:cNvPr>
          <p:cNvSpPr/>
          <p:nvPr userDrawn="1"/>
        </p:nvSpPr>
        <p:spPr>
          <a:xfrm>
            <a:off x="4161" y="1993886"/>
            <a:ext cx="9145980" cy="287022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239152" y="1993887"/>
            <a:ext cx="46759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239152" y="4300123"/>
            <a:ext cx="46759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42" marR="0" lvl="0" indent="-171442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39152" y="4003852"/>
            <a:ext cx="46759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1/15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 userDrawn="1">
          <p15:clr>
            <a:srgbClr val="F26B43"/>
          </p15:clr>
        </p15:guide>
        <p15:guide id="2" pos="5443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/>
              <a:t>源码分析</a:t>
            </a:r>
            <a:endParaRPr lang="en-US" altLang="zh-CN" sz="2000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ASP .NET Core Identity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600" dirty="0"/>
              <a:t>陈飞羽</a:t>
            </a:r>
            <a:endParaRPr lang="en-US" altLang="zh-CN" sz="16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/>
              <a:t>2021/1/15</a:t>
            </a:r>
            <a:endParaRPr lang="en-US" altLang="en-US" dirty="0"/>
          </a:p>
        </p:txBody>
      </p:sp>
      <p:sp>
        <p:nvSpPr>
          <p:cNvPr id="13" name="Freeform 39">
            <a:extLst>
              <a:ext uri="{FF2B5EF4-FFF2-40B4-BE49-F238E27FC236}">
                <a16:creationId xmlns:a16="http://schemas.microsoft.com/office/drawing/2014/main" id="{733F6A3B-1A24-4870-BA25-FC7524DC3968}"/>
              </a:ext>
            </a:extLst>
          </p:cNvPr>
          <p:cNvSpPr>
            <a:spLocks/>
          </p:cNvSpPr>
          <p:nvPr/>
        </p:nvSpPr>
        <p:spPr bwMode="auto">
          <a:xfrm>
            <a:off x="1579559" y="3487674"/>
            <a:ext cx="2148510" cy="1306058"/>
          </a:xfrm>
          <a:custGeom>
            <a:avLst/>
            <a:gdLst>
              <a:gd name="T0" fmla="*/ 1673 w 1673"/>
              <a:gd name="T1" fmla="*/ 0 h 1017"/>
              <a:gd name="T2" fmla="*/ 1668 w 1673"/>
              <a:gd name="T3" fmla="*/ 0 h 1017"/>
              <a:gd name="T4" fmla="*/ 1669 w 1673"/>
              <a:gd name="T5" fmla="*/ 3 h 1017"/>
              <a:gd name="T6" fmla="*/ 0 w 1673"/>
              <a:gd name="T7" fmla="*/ 0 h 1017"/>
              <a:gd name="T8" fmla="*/ 836 w 1673"/>
              <a:gd name="T9" fmla="*/ 1017 h 1017"/>
              <a:gd name="T10" fmla="*/ 1673 w 1673"/>
              <a:gd name="T11" fmla="*/ 0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73" h="1017">
                <a:moveTo>
                  <a:pt x="1673" y="0"/>
                </a:moveTo>
                <a:lnTo>
                  <a:pt x="1668" y="0"/>
                </a:lnTo>
                <a:lnTo>
                  <a:pt x="1669" y="3"/>
                </a:lnTo>
                <a:lnTo>
                  <a:pt x="0" y="0"/>
                </a:lnTo>
                <a:lnTo>
                  <a:pt x="836" y="1017"/>
                </a:lnTo>
                <a:lnTo>
                  <a:pt x="167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  <p:sp>
        <p:nvSpPr>
          <p:cNvPr id="14" name="Freeform 41">
            <a:extLst>
              <a:ext uri="{FF2B5EF4-FFF2-40B4-BE49-F238E27FC236}">
                <a16:creationId xmlns:a16="http://schemas.microsoft.com/office/drawing/2014/main" id="{1B3B05D7-4C5C-42D8-A025-0D20B43B48D9}"/>
              </a:ext>
            </a:extLst>
          </p:cNvPr>
          <p:cNvSpPr>
            <a:spLocks/>
          </p:cNvSpPr>
          <p:nvPr/>
        </p:nvSpPr>
        <p:spPr bwMode="auto">
          <a:xfrm>
            <a:off x="1578275" y="1638389"/>
            <a:ext cx="2144657" cy="1853138"/>
          </a:xfrm>
          <a:custGeom>
            <a:avLst/>
            <a:gdLst>
              <a:gd name="T0" fmla="*/ 1670 w 1670"/>
              <a:gd name="T1" fmla="*/ 1443 h 1443"/>
              <a:gd name="T2" fmla="*/ 833 w 1670"/>
              <a:gd name="T3" fmla="*/ 0 h 1443"/>
              <a:gd name="T4" fmla="*/ 0 w 1670"/>
              <a:gd name="T5" fmla="*/ 1440 h 1443"/>
              <a:gd name="T6" fmla="*/ 1670 w 1670"/>
              <a:gd name="T7" fmla="*/ 1443 h 1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70" h="1443">
                <a:moveTo>
                  <a:pt x="1670" y="1443"/>
                </a:moveTo>
                <a:lnTo>
                  <a:pt x="833" y="0"/>
                </a:lnTo>
                <a:lnTo>
                  <a:pt x="0" y="1440"/>
                </a:lnTo>
                <a:lnTo>
                  <a:pt x="1670" y="144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  <p:sp>
        <p:nvSpPr>
          <p:cNvPr id="16" name="Freeform 43">
            <a:extLst>
              <a:ext uri="{FF2B5EF4-FFF2-40B4-BE49-F238E27FC236}">
                <a16:creationId xmlns:a16="http://schemas.microsoft.com/office/drawing/2014/main" id="{1908C5F5-ECE3-4E68-97C5-9CE5A872E259}"/>
              </a:ext>
            </a:extLst>
          </p:cNvPr>
          <p:cNvSpPr>
            <a:spLocks/>
          </p:cNvSpPr>
          <p:nvPr/>
        </p:nvSpPr>
        <p:spPr bwMode="auto">
          <a:xfrm>
            <a:off x="986246" y="1638389"/>
            <a:ext cx="1654083" cy="1849285"/>
          </a:xfrm>
          <a:custGeom>
            <a:avLst/>
            <a:gdLst>
              <a:gd name="T0" fmla="*/ 1288 w 1288"/>
              <a:gd name="T1" fmla="*/ 0 h 1440"/>
              <a:gd name="T2" fmla="*/ 0 w 1288"/>
              <a:gd name="T3" fmla="*/ 212 h 1440"/>
              <a:gd name="T4" fmla="*/ 458 w 1288"/>
              <a:gd name="T5" fmla="*/ 1440 h 1440"/>
              <a:gd name="T6" fmla="*/ 1288 w 1288"/>
              <a:gd name="T7" fmla="*/ 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88" h="1440">
                <a:moveTo>
                  <a:pt x="1288" y="0"/>
                </a:moveTo>
                <a:lnTo>
                  <a:pt x="0" y="212"/>
                </a:lnTo>
                <a:lnTo>
                  <a:pt x="458" y="1440"/>
                </a:lnTo>
                <a:lnTo>
                  <a:pt x="128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  <p:sp>
        <p:nvSpPr>
          <p:cNvPr id="18" name="Freeform 45">
            <a:extLst>
              <a:ext uri="{FF2B5EF4-FFF2-40B4-BE49-F238E27FC236}">
                <a16:creationId xmlns:a16="http://schemas.microsoft.com/office/drawing/2014/main" id="{94DC932A-A09F-4D78-938F-9B16269D769A}"/>
              </a:ext>
            </a:extLst>
          </p:cNvPr>
          <p:cNvSpPr>
            <a:spLocks/>
          </p:cNvSpPr>
          <p:nvPr/>
        </p:nvSpPr>
        <p:spPr bwMode="auto">
          <a:xfrm>
            <a:off x="2660877" y="1638389"/>
            <a:ext cx="1655368" cy="1849285"/>
          </a:xfrm>
          <a:custGeom>
            <a:avLst/>
            <a:gdLst>
              <a:gd name="T0" fmla="*/ 0 w 1289"/>
              <a:gd name="T1" fmla="*/ 0 h 1440"/>
              <a:gd name="T2" fmla="*/ 831 w 1289"/>
              <a:gd name="T3" fmla="*/ 1440 h 1440"/>
              <a:gd name="T4" fmla="*/ 1289 w 1289"/>
              <a:gd name="T5" fmla="*/ 212 h 1440"/>
              <a:gd name="T6" fmla="*/ 0 w 1289"/>
              <a:gd name="T7" fmla="*/ 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89" h="1440">
                <a:moveTo>
                  <a:pt x="0" y="0"/>
                </a:moveTo>
                <a:lnTo>
                  <a:pt x="831" y="1440"/>
                </a:lnTo>
                <a:lnTo>
                  <a:pt x="1289" y="21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A53F00DB-1EBB-4EF4-AC6B-E1B1BB5C1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0AD762D-0866-49E0-B4CE-7A1CFA5FF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B1783C5D-CE8C-48CE-8B43-3537E9E961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dentity </a:t>
            </a:r>
            <a:r>
              <a:rPr lang="zh-CN" altLang="en-US" dirty="0"/>
              <a:t>的功能范围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94979BA9-E039-4178-BF99-C86AA9E323A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i="0" dirty="0">
                <a:solidFill>
                  <a:srgbClr val="212529"/>
                </a:solidFill>
                <a:effectLst/>
                <a:latin typeface="-apple-system"/>
              </a:rPr>
              <a:t>认证（</a:t>
            </a:r>
            <a:r>
              <a:rPr lang="en-US" altLang="zh-CN" sz="2000" i="0" dirty="0">
                <a:solidFill>
                  <a:srgbClr val="212529"/>
                </a:solidFill>
                <a:effectLst/>
                <a:latin typeface="-apple-system"/>
              </a:rPr>
              <a:t>Authentication</a:t>
            </a:r>
            <a:r>
              <a:rPr lang="zh-CN" altLang="en-US" sz="2000" i="0" dirty="0">
                <a:solidFill>
                  <a:srgbClr val="212529"/>
                </a:solidFill>
                <a:effectLst/>
                <a:latin typeface="-apple-system"/>
              </a:rPr>
              <a:t>） 、授权（</a:t>
            </a:r>
            <a:r>
              <a:rPr lang="en-US" altLang="zh-CN" sz="2000" i="0" dirty="0">
                <a:solidFill>
                  <a:srgbClr val="212529"/>
                </a:solidFill>
                <a:effectLst/>
                <a:latin typeface="-apple-system"/>
              </a:rPr>
              <a:t>Authorization</a:t>
            </a:r>
            <a:r>
              <a:rPr lang="zh-CN" altLang="en-US" sz="2000" i="0" dirty="0">
                <a:solidFill>
                  <a:srgbClr val="212529"/>
                </a:solidFill>
                <a:effectLst/>
                <a:latin typeface="-apple-system"/>
              </a:rPr>
              <a:t>）和成员系统</a:t>
            </a:r>
            <a:r>
              <a:rPr lang="zh-CN" altLang="en-US" sz="2000" dirty="0">
                <a:solidFill>
                  <a:srgbClr val="212529"/>
                </a:solidFill>
                <a:latin typeface="-apple-system"/>
              </a:rPr>
              <a:t>（</a:t>
            </a:r>
            <a:r>
              <a:rPr lang="en-US" altLang="zh-CN" sz="2000" dirty="0">
                <a:solidFill>
                  <a:srgbClr val="212529"/>
                </a:solidFill>
                <a:latin typeface="-apple-system"/>
              </a:rPr>
              <a:t>Identity</a:t>
            </a:r>
            <a:r>
              <a:rPr lang="zh-CN" altLang="en-US" sz="2000" dirty="0">
                <a:solidFill>
                  <a:srgbClr val="212529"/>
                </a:solidFill>
                <a:latin typeface="-apple-system"/>
              </a:rPr>
              <a:t>） ，它们是相互独立的！</a:t>
            </a:r>
            <a:endParaRPr lang="en-US" altLang="zh-CN" sz="2000" dirty="0">
              <a:solidFill>
                <a:srgbClr val="212529"/>
              </a:solidFill>
              <a:latin typeface="-apple-system"/>
            </a:endParaRPr>
          </a:p>
          <a:p>
            <a:pPr>
              <a:lnSpc>
                <a:spcPct val="150000"/>
              </a:lnSpc>
            </a:pPr>
            <a:r>
              <a:rPr lang="en-US" altLang="zh-CN" sz="2000" dirty="0"/>
              <a:t>Identity </a:t>
            </a:r>
            <a:r>
              <a:rPr lang="zh-CN" altLang="en-US" sz="2000" dirty="0"/>
              <a:t>仅负责管理</a:t>
            </a:r>
            <a:r>
              <a:rPr lang="en-US" altLang="zh-CN" sz="2000" dirty="0" err="1"/>
              <a:t>ClaimsPrincipal</a:t>
            </a:r>
            <a:r>
              <a:rPr lang="zh-CN" altLang="en-US" sz="2000" dirty="0"/>
              <a:t>，身份证</a:t>
            </a:r>
            <a:r>
              <a:rPr lang="en-US" altLang="zh-CN" sz="2000" dirty="0" err="1"/>
              <a:t>ClaimsIdentity</a:t>
            </a:r>
            <a:r>
              <a:rPr lang="zh-CN" altLang="en-US" sz="2000" dirty="0"/>
              <a:t>，身份证上的信息</a:t>
            </a:r>
            <a:r>
              <a:rPr lang="en-US" altLang="zh-CN" sz="2000" dirty="0"/>
              <a:t>Claim</a:t>
            </a:r>
            <a:r>
              <a:rPr lang="zh-CN" altLang="en-US" sz="2000" dirty="0"/>
              <a:t>。</a:t>
            </a:r>
            <a:endParaRPr lang="en-US" altLang="zh-CN" sz="2000" dirty="0"/>
          </a:p>
          <a:p>
            <a:pPr>
              <a:lnSpc>
                <a:spcPct val="150000"/>
              </a:lnSpc>
            </a:pPr>
            <a:r>
              <a:rPr lang="zh-CN" altLang="en-US" sz="2000" dirty="0"/>
              <a:t>符合单一职责原则。</a:t>
            </a:r>
          </a:p>
        </p:txBody>
      </p:sp>
    </p:spTree>
    <p:extLst>
      <p:ext uri="{BB962C8B-B14F-4D97-AF65-F5344CB8AC3E}">
        <p14:creationId xmlns:p14="http://schemas.microsoft.com/office/powerpoint/2010/main" val="28799775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BC7D61AE-20E7-4919-93B8-9E1050812B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C404F62-F2B5-45B5-BCBB-471EFA335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418B4E20-F053-4E04-A819-604547DD1D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简单实例</a:t>
            </a:r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6DFF87FD-D882-4E5D-BF3C-25C338FC9EE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78592" y="1117485"/>
            <a:ext cx="9056163" cy="2625840"/>
          </a:xfrm>
        </p:spPr>
      </p:pic>
    </p:spTree>
    <p:extLst>
      <p:ext uri="{BB962C8B-B14F-4D97-AF65-F5344CB8AC3E}">
        <p14:creationId xmlns:p14="http://schemas.microsoft.com/office/powerpoint/2010/main" val="2405997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5278D130-0792-4F62-A1E9-6256F7EA4A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05F499B-A999-42C2-9CFE-38C1821E8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4EA63F2-0E41-4811-A06C-CD0149959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dentity </a:t>
            </a:r>
            <a:r>
              <a:rPr lang="zh-CN" altLang="en-US" dirty="0"/>
              <a:t>在</a:t>
            </a:r>
            <a:r>
              <a:rPr lang="en-US" altLang="zh-CN" dirty="0"/>
              <a:t>sign in</a:t>
            </a:r>
            <a:r>
              <a:rPr lang="zh-CN" altLang="en-US" dirty="0"/>
              <a:t>中的作用</a:t>
            </a:r>
          </a:p>
        </p:txBody>
      </p:sp>
      <p:pic>
        <p:nvPicPr>
          <p:cNvPr id="6" name="内容占位符 5">
            <a:extLst>
              <a:ext uri="{FF2B5EF4-FFF2-40B4-BE49-F238E27FC236}">
                <a16:creationId xmlns:a16="http://schemas.microsoft.com/office/drawing/2014/main" id="{B8228D10-1947-4759-93DC-23FE3513014A}"/>
              </a:ext>
            </a:extLst>
          </p:cNvPr>
          <p:cNvPicPr>
            <a:picLocks noGrp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911047" y="1028701"/>
            <a:ext cx="6921856" cy="4750044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8124226-4BE6-472B-9DFF-DB28F68543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5027" y="5736654"/>
            <a:ext cx="6820251" cy="914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7796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4DAFED5F-BE93-4F75-8493-214105F6F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64D0222-514F-4CEE-BCE1-6114763D2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pic>
        <p:nvPicPr>
          <p:cNvPr id="7" name="内容占位符 6">
            <a:extLst>
              <a:ext uri="{FF2B5EF4-FFF2-40B4-BE49-F238E27FC236}">
                <a16:creationId xmlns:a16="http://schemas.microsoft.com/office/drawing/2014/main" id="{B24FD635-2084-42AA-9A04-AE112F17738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870792" y="675152"/>
            <a:ext cx="5678365" cy="5918861"/>
          </a:xfrm>
        </p:spPr>
      </p:pic>
    </p:spTree>
    <p:extLst>
      <p:ext uri="{BB962C8B-B14F-4D97-AF65-F5344CB8AC3E}">
        <p14:creationId xmlns:p14="http://schemas.microsoft.com/office/powerpoint/2010/main" val="6376829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6BCD557-DF7D-4FD8-A13B-CC68236B6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设计模式分析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A8609C3-02A6-4693-8EFA-AFFCEEB007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B32DAC7-22FE-407C-8BAF-090BBD7DEB86}"/>
              </a:ext>
            </a:extLst>
          </p:cNvPr>
          <p:cNvSpPr txBox="1"/>
          <p:nvPr/>
        </p:nvSpPr>
        <p:spPr>
          <a:xfrm>
            <a:off x="1055566" y="3045850"/>
            <a:ext cx="881348" cy="7663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75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z="1350" spc="75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z="1350" spc="75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9840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41E0352A-CB4D-4E9E-8B35-71F886548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94E3A39-14DC-4658-BACC-B9058C8B5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DE02E4C6-5995-4B3B-A587-8370A5A6A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设计模式：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 </a:t>
            </a:r>
            <a:r>
              <a:rPr lang="en-US" altLang="zh-CN" i="0" dirty="0">
                <a:solidFill>
                  <a:srgbClr val="333333"/>
                </a:solidFill>
                <a:effectLst/>
                <a:latin typeface="Helvetica Neue"/>
              </a:rPr>
              <a:t>Builder Pattern</a:t>
            </a:r>
            <a:endParaRPr lang="zh-CN" altLang="en-US" dirty="0"/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5CF3761A-9147-4A5A-AB4E-D7B822EC625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/>
              <a:t>设计模式中的</a:t>
            </a:r>
            <a:r>
              <a:rPr lang="en-US" altLang="zh-CN" sz="2000" dirty="0"/>
              <a:t>Builder</a:t>
            </a:r>
            <a:r>
              <a:rPr lang="zh-CN" altLang="en-US" sz="2000" dirty="0"/>
              <a:t>模式，又叫建造者模式</a:t>
            </a:r>
            <a:endParaRPr lang="en-US" altLang="zh-CN" sz="2000" dirty="0"/>
          </a:p>
          <a:p>
            <a:pPr>
              <a:lnSpc>
                <a:spcPct val="150000"/>
              </a:lnSpc>
            </a:pPr>
            <a:r>
              <a:rPr lang="zh-CN" altLang="en-US" sz="2000" dirty="0"/>
              <a:t>主要的作用：分离一个复杂对象的</a:t>
            </a:r>
            <a:r>
              <a:rPr lang="zh-CN" altLang="en-US" sz="2000" b="1" dirty="0"/>
              <a:t>构建过程</a:t>
            </a:r>
            <a:r>
              <a:rPr lang="zh-CN" altLang="en-US" sz="2000" dirty="0"/>
              <a:t>和复杂对象的</a:t>
            </a:r>
            <a:r>
              <a:rPr lang="zh-CN" altLang="en-US" sz="2000" b="1" dirty="0"/>
              <a:t>表现形式</a:t>
            </a:r>
            <a:r>
              <a:rPr lang="zh-CN" altLang="en-US" sz="2000" dirty="0"/>
              <a:t>，抽象出构建过程，这样可以使用相同的构建过程，配合</a:t>
            </a:r>
            <a:r>
              <a:rPr lang="zh-CN" altLang="en-US" sz="2000" b="1" dirty="0"/>
              <a:t>依赖注入</a:t>
            </a:r>
            <a:r>
              <a:rPr lang="zh-CN" altLang="en-US" sz="2000" dirty="0"/>
              <a:t>构建出不同的产品。</a:t>
            </a:r>
            <a:endParaRPr lang="en-US" altLang="zh-CN" sz="2000" dirty="0"/>
          </a:p>
          <a:p>
            <a:pPr>
              <a:lnSpc>
                <a:spcPct val="150000"/>
              </a:lnSpc>
            </a:pPr>
            <a:endParaRPr lang="en-US" altLang="zh-CN" sz="2000" dirty="0"/>
          </a:p>
          <a:p>
            <a:pPr>
              <a:lnSpc>
                <a:spcPct val="150000"/>
              </a:lnSpc>
            </a:pPr>
            <a:endParaRPr lang="zh-CN" altLang="en-US" sz="20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B4DE31C-D85E-4D9A-8C24-0678C9E844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367" y="3429000"/>
            <a:ext cx="5930965" cy="3093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1284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1DFB9572-8CC2-48F8-A876-F1CBD6633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6AA7E03-BD11-4B31-BBC9-4552F068B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E286BE2F-9AF5-4F14-AFC6-DC94EACC39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为什么要使用</a:t>
            </a:r>
            <a:r>
              <a:rPr lang="en-US" altLang="zh-CN" dirty="0"/>
              <a:t>Builder</a:t>
            </a:r>
            <a:r>
              <a:rPr lang="zh-CN" altLang="en-US" dirty="0"/>
              <a:t>模式？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914B3D27-E019-42DC-898E-57AD0D2331F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altLang="zh-CN" dirty="0"/>
          </a:p>
          <a:p>
            <a:pPr algn="l"/>
            <a: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  <a:t>能够对用户资料（</a:t>
            </a:r>
            <a:r>
              <a:rPr lang="en-US" altLang="zh-CN" b="1" i="0" dirty="0">
                <a:solidFill>
                  <a:srgbClr val="000000"/>
                </a:solidFill>
                <a:effectLst/>
                <a:latin typeface="Helvetica Neue"/>
              </a:rPr>
              <a:t>User Profile</a:t>
            </a:r>
            <a: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  <a:t>）很方便的扩展</a:t>
            </a:r>
            <a:endParaRPr lang="zh-CN" altLang="en-US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可以针对用户资料进行扩展。（</a:t>
            </a:r>
            <a:r>
              <a:rPr lang="zh-CN" altLang="en-US" b="1" i="0" dirty="0">
                <a:solidFill>
                  <a:srgbClr val="08CEAC"/>
                </a:solidFill>
                <a:effectLst/>
                <a:latin typeface="Helvetica Neue"/>
              </a:rPr>
              <a:t>是否使用邮件</a:t>
            </a:r>
            <a:r>
              <a:rPr lang="en-US" altLang="zh-CN" b="1" i="0" dirty="0">
                <a:solidFill>
                  <a:srgbClr val="08CEAC"/>
                </a:solidFill>
                <a:effectLst/>
                <a:latin typeface="Helvetica Neue"/>
              </a:rPr>
              <a:t>/</a:t>
            </a:r>
            <a:r>
              <a:rPr lang="zh-CN" altLang="en-US" b="1" i="0" dirty="0">
                <a:solidFill>
                  <a:srgbClr val="08CEAC"/>
                </a:solidFill>
                <a:effectLst/>
                <a:latin typeface="Helvetica Neue"/>
              </a:rPr>
              <a:t>电话号码认证等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）</a:t>
            </a:r>
          </a:p>
          <a:p>
            <a:pPr algn="l"/>
            <a: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  <a:t>持久化</a:t>
            </a:r>
            <a:endParaRPr lang="zh-CN" altLang="en-US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使用</a:t>
            </a:r>
            <a:r>
              <a:rPr lang="zh-CN" altLang="en-US" sz="1600" b="1" i="0" dirty="0">
                <a:solidFill>
                  <a:srgbClr val="08CEAC"/>
                </a:solidFill>
                <a:effectLst/>
                <a:latin typeface="-apple-system"/>
              </a:rPr>
              <a:t>任意的关系型数据库</a:t>
            </a: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，从</a:t>
            </a:r>
            <a:r>
              <a:rPr lang="en-US" altLang="zh-CN" sz="1600" b="0" i="0" dirty="0" err="1">
                <a:solidFill>
                  <a:srgbClr val="212529"/>
                </a:solidFill>
                <a:effectLst/>
                <a:latin typeface="-apple-system"/>
              </a:rPr>
              <a:t>sqllite</a:t>
            </a: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到</a:t>
            </a:r>
            <a:r>
              <a:rPr lang="en-US" altLang="zh-CN" sz="1600" b="0" i="0" dirty="0" err="1">
                <a:solidFill>
                  <a:srgbClr val="212529"/>
                </a:solidFill>
                <a:effectLst/>
                <a:latin typeface="-apple-system"/>
              </a:rPr>
              <a:t>mysql</a:t>
            </a: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、</a:t>
            </a:r>
            <a:r>
              <a:rPr lang="en-US" altLang="zh-CN" sz="1600" b="0" i="0" dirty="0" err="1">
                <a:solidFill>
                  <a:srgbClr val="212529"/>
                </a:solidFill>
                <a:effectLst/>
                <a:latin typeface="-apple-system"/>
              </a:rPr>
              <a:t>sqlserver</a:t>
            </a: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等等，由</a:t>
            </a:r>
            <a:r>
              <a:rPr lang="en-US" altLang="zh-CN" sz="1600" b="0" i="0" dirty="0">
                <a:solidFill>
                  <a:srgbClr val="212529"/>
                </a:solidFill>
                <a:effectLst/>
                <a:latin typeface="-apple-system"/>
              </a:rPr>
              <a:t>Entity </a:t>
            </a:r>
            <a:r>
              <a:rPr lang="en-US" altLang="zh-CN" sz="1600" b="0" i="0" dirty="0" err="1">
                <a:solidFill>
                  <a:srgbClr val="212529"/>
                </a:solidFill>
                <a:effectLst/>
                <a:latin typeface="-apple-system"/>
              </a:rPr>
              <a:t>Framwork</a:t>
            </a:r>
            <a:r>
              <a:rPr lang="en-US" altLang="zh-CN" sz="1600" b="0" i="0" dirty="0">
                <a:solidFill>
                  <a:srgbClr val="212529"/>
                </a:solidFill>
                <a:effectLst/>
                <a:latin typeface="-apple-system"/>
              </a:rPr>
              <a:t> </a:t>
            </a: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支持</a:t>
            </a:r>
            <a:endParaRPr lang="en-US" altLang="zh-CN" sz="1600" b="0" i="0" dirty="0">
              <a:solidFill>
                <a:srgbClr val="212529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  <a:t>角色机制</a:t>
            </a:r>
            <a:endParaRPr lang="zh-CN" altLang="en-US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提供角色机制，可以</a:t>
            </a:r>
            <a:r>
              <a:rPr lang="zh-CN" altLang="en-US" b="1" i="0" dirty="0">
                <a:solidFill>
                  <a:srgbClr val="08CEAC"/>
                </a:solidFill>
                <a:effectLst/>
                <a:latin typeface="Helvetica Neue"/>
              </a:rPr>
              <a:t>使用不同的角色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来进行不同权限的限制，可以轻松的创建角色，向用户添加角色等。</a:t>
            </a:r>
          </a:p>
          <a:p>
            <a:r>
              <a:rPr lang="zh-CN" altLang="en-US" sz="1600" b="1" i="0" dirty="0">
                <a:solidFill>
                  <a:srgbClr val="212529"/>
                </a:solidFill>
                <a:effectLst/>
                <a:latin typeface="-apple-system"/>
              </a:rPr>
              <a:t>基于声明的认证模式</a:t>
            </a:r>
            <a:r>
              <a:rPr lang="en-US" altLang="zh-CN" sz="1600" b="1" i="0" dirty="0">
                <a:solidFill>
                  <a:srgbClr val="212529"/>
                </a:solidFill>
                <a:effectLst/>
                <a:latin typeface="-apple-system"/>
              </a:rPr>
              <a:t>Claims Based Authentication</a:t>
            </a:r>
            <a:endParaRPr lang="zh-CN" altLang="en-US" sz="1600" b="1" i="0" dirty="0">
              <a:solidFill>
                <a:srgbClr val="212529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需要支持基于 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Claims 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的身份验证机制，其中用户身份是一组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Claims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，一组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Claims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可以比角色拥有更强的表现力。</a:t>
            </a:r>
          </a:p>
          <a:p>
            <a:pPr algn="l"/>
            <a: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  <a:t>第三方社交登陆</a:t>
            </a:r>
            <a:endParaRPr lang="zh-CN" altLang="en-US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可以很方便的</a:t>
            </a:r>
            <a:r>
              <a:rPr lang="zh-CN" altLang="en-US" b="1" i="0" dirty="0">
                <a:solidFill>
                  <a:srgbClr val="08CEAC"/>
                </a:solidFill>
                <a:effectLst/>
                <a:latin typeface="Helvetica Neue"/>
              </a:rPr>
              <a:t>使用第三方登入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，比如 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Microsoft 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账户，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Facebook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， 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Twitter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，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Google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等，并且存储用户特定的数据。</a:t>
            </a:r>
          </a:p>
        </p:txBody>
      </p:sp>
    </p:spTree>
    <p:extLst>
      <p:ext uri="{BB962C8B-B14F-4D97-AF65-F5344CB8AC3E}">
        <p14:creationId xmlns:p14="http://schemas.microsoft.com/office/powerpoint/2010/main" val="11239501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C19C29C8-1F61-47EF-A2D6-AA58EAF73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EC0405A-9E61-4F5E-8730-9F8123C29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DED655AA-8B9E-4121-95EA-BEC4437C5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简略版</a:t>
            </a:r>
            <a:r>
              <a:rPr lang="en-US" altLang="zh-CN" dirty="0"/>
              <a:t>builder</a:t>
            </a:r>
            <a:r>
              <a:rPr lang="zh-CN" altLang="en-US" dirty="0"/>
              <a:t>模式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DA4E9313-45D5-4F81-8B0A-D19FE856B8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sz="2000" dirty="0"/>
              <a:t>没有</a:t>
            </a:r>
            <a:r>
              <a:rPr lang="en-US" altLang="zh-CN" sz="2000" dirty="0"/>
              <a:t>Product</a:t>
            </a:r>
            <a:r>
              <a:rPr lang="zh-CN" altLang="en-US" sz="2000" dirty="0"/>
              <a:t>类，只有</a:t>
            </a:r>
            <a:r>
              <a:rPr lang="en-US" altLang="zh-CN" sz="2000" dirty="0"/>
              <a:t>builder</a:t>
            </a:r>
            <a:r>
              <a:rPr lang="zh-CN" altLang="en-US" sz="2000" dirty="0"/>
              <a:t>类存储依赖关系</a:t>
            </a:r>
            <a:endParaRPr lang="en-US" altLang="zh-CN" sz="2000" dirty="0"/>
          </a:p>
          <a:p>
            <a:pPr>
              <a:lnSpc>
                <a:spcPct val="150000"/>
              </a:lnSpc>
            </a:pPr>
            <a:r>
              <a:rPr lang="zh-CN" altLang="en-US" sz="2000" dirty="0"/>
              <a:t>没有</a:t>
            </a:r>
            <a:r>
              <a:rPr lang="en-US" altLang="zh-CN" sz="2000" dirty="0"/>
              <a:t>director</a:t>
            </a:r>
            <a:r>
              <a:rPr lang="zh-CN" altLang="en-US" sz="2000" dirty="0"/>
              <a:t>类，</a:t>
            </a:r>
            <a:r>
              <a:rPr lang="en-US" altLang="zh-CN" sz="2000" dirty="0"/>
              <a:t>builder</a:t>
            </a:r>
            <a:r>
              <a:rPr lang="zh-CN" altLang="en-US" sz="2000" dirty="0"/>
              <a:t>类的构建由客户端负责</a:t>
            </a:r>
            <a:endParaRPr lang="en-US" altLang="zh-CN" sz="2000" dirty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Builder</a:t>
            </a:r>
            <a:r>
              <a:rPr lang="zh-CN" altLang="en-US" sz="2000" dirty="0"/>
              <a:t>类的创建和设值通过依赖注入完成</a:t>
            </a:r>
            <a:endParaRPr lang="en-US" altLang="zh-CN" sz="2000" dirty="0"/>
          </a:p>
          <a:p>
            <a:pPr>
              <a:lnSpc>
                <a:spcPct val="150000"/>
              </a:lnSpc>
            </a:pPr>
            <a:endParaRPr lang="en-US" altLang="zh-CN" sz="2000" dirty="0"/>
          </a:p>
          <a:p>
            <a:r>
              <a:rPr lang="zh-CN" altLang="en-US" dirty="0"/>
              <a:t> 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00E3542-0641-4217-A6A3-A2AE11713CC3}"/>
              </a:ext>
            </a:extLst>
          </p:cNvPr>
          <p:cNvSpPr txBox="1"/>
          <p:nvPr/>
        </p:nvSpPr>
        <p:spPr>
          <a:xfrm>
            <a:off x="2286000" y="324674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 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041A5EF4-40D8-42EA-9ED2-E7153C0968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913" y="3429000"/>
            <a:ext cx="7031173" cy="2401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1307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7CA7219F-2931-4449-97A8-CEB1A85963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C4EB57D-7550-4694-B8D9-D7151EE98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F693052-4419-4615-A94E-DE1FF2F08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为什么使用依赖注入？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7A656EAF-B7CE-4A07-B0B2-24D3354FFE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sz="1800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依赖项是指另一个对象所依赖的对象。</a:t>
            </a:r>
            <a:endParaRPr lang="en-US" altLang="zh-CN" sz="1800" b="0" i="0" dirty="0">
              <a:solidFill>
                <a:srgbClr val="171717"/>
              </a:solidFill>
              <a:effectLst/>
              <a:latin typeface="Segoe UI" panose="020B0502040204020203" pitchFamily="34" charset="0"/>
            </a:endParaRPr>
          </a:p>
          <a:p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951E3E7-3CE3-4EEE-AC33-3595655F5B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123" y="1570726"/>
            <a:ext cx="7237887" cy="2587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8969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1DAB961-78FB-45F4-B248-2E1E9A75E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23FA52D-BD2D-4989-8A1C-7E8299225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897FFE50-17EF-433A-8DE3-4079B6274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直接例化存在</a:t>
            </a:r>
            <a:r>
              <a:rPr lang="zh-CN" altLang="en-US" dirty="0"/>
              <a:t>的问题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4D054C6D-4106-4E0A-8CBC-404791E2AB6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/>
              <a:t>如果要用不同的实现替换 </a:t>
            </a:r>
            <a:r>
              <a:rPr lang="en-US" altLang="zh-CN" sz="2000" dirty="0" err="1"/>
              <a:t>UserManager</a:t>
            </a:r>
            <a:r>
              <a:rPr lang="zh-CN" altLang="en-US" sz="2000" dirty="0"/>
              <a:t>，必须修改 </a:t>
            </a:r>
            <a:r>
              <a:rPr lang="en-US" altLang="zh-CN" sz="2000" dirty="0" err="1"/>
              <a:t>IdentityBuilder</a:t>
            </a:r>
            <a:r>
              <a:rPr lang="zh-CN" altLang="en-US" sz="2000" dirty="0"/>
              <a:t>类。</a:t>
            </a:r>
          </a:p>
          <a:p>
            <a:pPr>
              <a:lnSpc>
                <a:spcPct val="150000"/>
              </a:lnSpc>
            </a:pPr>
            <a:r>
              <a:rPr lang="en-US" altLang="zh-CN" sz="2000" dirty="0" err="1"/>
              <a:t>UserManager</a:t>
            </a:r>
            <a:r>
              <a:rPr lang="en-US" altLang="zh-CN" sz="2000" dirty="0"/>
              <a:t> </a:t>
            </a:r>
            <a:r>
              <a:rPr lang="zh-CN" altLang="en-US" sz="2000" dirty="0"/>
              <a:t>具有依赖项，则必须由 </a:t>
            </a:r>
            <a:r>
              <a:rPr lang="en-US" altLang="zh-CN" sz="2000" dirty="0" err="1"/>
              <a:t>IdentityBuilder</a:t>
            </a:r>
            <a:r>
              <a:rPr lang="en-US" altLang="zh-CN" sz="2000" dirty="0"/>
              <a:t> </a:t>
            </a:r>
            <a:r>
              <a:rPr lang="zh-CN" altLang="en-US" sz="2000" dirty="0"/>
              <a:t>类对其进行配置。 </a:t>
            </a:r>
            <a:r>
              <a:rPr lang="en-US" altLang="zh-CN" sz="2000" dirty="0"/>
              <a:t>Identity</a:t>
            </a:r>
            <a:r>
              <a:rPr lang="zh-CN" altLang="en-US" sz="2000" dirty="0"/>
              <a:t>中有多个依赖于 </a:t>
            </a:r>
            <a:r>
              <a:rPr lang="en-US" altLang="zh-CN" sz="2000" dirty="0" err="1"/>
              <a:t>UserManager</a:t>
            </a:r>
            <a:r>
              <a:rPr lang="en-US" altLang="zh-CN" sz="2000" dirty="0"/>
              <a:t> </a:t>
            </a:r>
            <a:r>
              <a:rPr lang="zh-CN" altLang="en-US" sz="2000" dirty="0"/>
              <a:t>的类的，配置代码将分散在各处。</a:t>
            </a:r>
          </a:p>
          <a:p>
            <a:pPr>
              <a:lnSpc>
                <a:spcPct val="150000"/>
              </a:lnSpc>
            </a:pPr>
            <a:r>
              <a:rPr lang="zh-CN" altLang="en-US" sz="2000" dirty="0"/>
              <a:t>很难进行单元测试。</a:t>
            </a:r>
            <a:endParaRPr lang="en-US" altLang="zh-CN" sz="2000" dirty="0"/>
          </a:p>
          <a:p>
            <a:pPr>
              <a:lnSpc>
                <a:spcPct val="150000"/>
              </a:lnSpc>
            </a:pPr>
            <a:r>
              <a:rPr lang="zh-CN" altLang="en-US" sz="2000" dirty="0"/>
              <a:t>很难控制实例的生命周期。</a:t>
            </a:r>
          </a:p>
        </p:txBody>
      </p:sp>
    </p:spTree>
    <p:extLst>
      <p:ext uri="{BB962C8B-B14F-4D97-AF65-F5344CB8AC3E}">
        <p14:creationId xmlns:p14="http://schemas.microsoft.com/office/powerpoint/2010/main" val="82217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800" dirty="0">
                <a:latin typeface="+mn-lt"/>
                <a:ea typeface="+mn-ea"/>
                <a:sym typeface="+mn-lt"/>
              </a:rPr>
              <a:t>ASP.NET Core Identity </a:t>
            </a:r>
            <a:r>
              <a:rPr lang="zh-CN" altLang="en-US" sz="2800" dirty="0">
                <a:latin typeface="+mn-lt"/>
                <a:ea typeface="+mn-ea"/>
                <a:sym typeface="+mn-lt"/>
              </a:rPr>
              <a:t>简介</a:t>
            </a:r>
            <a:endParaRPr lang="zh-CN" altLang="en-US" sz="28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055566" y="3045850"/>
            <a:ext cx="881348" cy="7663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75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z="1350" spc="75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z="1350" spc="75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DE7B427D-B350-4185-93C9-F1445B72638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6441" y="4316016"/>
            <a:ext cx="9144000" cy="1684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31F9CE29-6C22-409F-B9A6-CD53F9916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8FA4CF3-B65F-4368-9BDE-1BCD3E19D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C5E1F98E-B9CF-403F-AACF-479B75E99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解决：依赖关系注入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5D650CF4-1960-4337-BFCC-1F05B84D1C2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/>
              <a:t>使用接口或基类将依赖关系</a:t>
            </a:r>
            <a:r>
              <a:rPr lang="zh-CN" altLang="en-US" sz="2000"/>
              <a:t>实现抽象化，即依赖接口或基类而不是实现。</a:t>
            </a:r>
            <a:endParaRPr lang="zh-CN" altLang="en-US" sz="2000" dirty="0"/>
          </a:p>
          <a:p>
            <a:pPr>
              <a:lnSpc>
                <a:spcPct val="150000"/>
              </a:lnSpc>
            </a:pPr>
            <a:r>
              <a:rPr lang="zh-CN" altLang="en-US" sz="2000" dirty="0"/>
              <a:t>在服务容器中注册依赖关系。 </a:t>
            </a:r>
            <a:r>
              <a:rPr lang="en-US" altLang="zh-CN" sz="2000" dirty="0"/>
              <a:t>ASP.NET Core </a:t>
            </a:r>
            <a:r>
              <a:rPr lang="zh-CN" altLang="en-US" sz="2000" dirty="0"/>
              <a:t>提供了一个内置的服务容器 </a:t>
            </a:r>
            <a:r>
              <a:rPr lang="en-US" altLang="zh-CN" sz="2000" dirty="0" err="1"/>
              <a:t>IServiceProvider</a:t>
            </a:r>
            <a:r>
              <a:rPr lang="zh-CN" altLang="en-US" sz="2000" dirty="0"/>
              <a:t>。 服务通常在应用的</a:t>
            </a:r>
            <a:r>
              <a:rPr lang="en-US" altLang="zh-CN" sz="2000" dirty="0" err="1"/>
              <a:t>Startup.ConfigureServices</a:t>
            </a:r>
            <a:r>
              <a:rPr lang="en-US" altLang="zh-CN" sz="2000" dirty="0"/>
              <a:t> </a:t>
            </a:r>
            <a:r>
              <a:rPr lang="zh-CN" altLang="en-US" sz="2000" dirty="0"/>
              <a:t>方法中注册。</a:t>
            </a:r>
          </a:p>
          <a:p>
            <a:pPr>
              <a:lnSpc>
                <a:spcPct val="150000"/>
              </a:lnSpc>
            </a:pPr>
            <a:r>
              <a:rPr lang="zh-CN" altLang="en-US" sz="2000" dirty="0"/>
              <a:t>将服务注入到使用它的类的构造函数中。 框架负责创建依赖关系的实例，并在不再需要时将其释放。</a:t>
            </a:r>
          </a:p>
        </p:txBody>
      </p:sp>
    </p:spTree>
    <p:extLst>
      <p:ext uri="{BB962C8B-B14F-4D97-AF65-F5344CB8AC3E}">
        <p14:creationId xmlns:p14="http://schemas.microsoft.com/office/powerpoint/2010/main" val="28885300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3051676-32C5-4D72-8719-02D4D455F0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FA705FD-891E-4549-9D97-5060D0B0A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E47AC3B1-ABD8-4B72-8646-A37D4D503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简单实例：配置</a:t>
            </a:r>
            <a:r>
              <a:rPr lang="en-US" altLang="zh-CN" dirty="0"/>
              <a:t>——</a:t>
            </a:r>
            <a:r>
              <a:rPr lang="zh-CN" altLang="en-US" dirty="0"/>
              <a:t>依赖注入</a:t>
            </a:r>
          </a:p>
        </p:txBody>
      </p:sp>
      <p:sp>
        <p:nvSpPr>
          <p:cNvPr id="9" name="内容占位符 8">
            <a:extLst>
              <a:ext uri="{FF2B5EF4-FFF2-40B4-BE49-F238E27FC236}">
                <a16:creationId xmlns:a16="http://schemas.microsoft.com/office/drawing/2014/main" id="{174AE2D3-0E40-41F0-915D-19C326E0920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ADAD5D5-E9BC-436E-ADAF-3BA72029F6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443" y="1360940"/>
            <a:ext cx="7522045" cy="365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7239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55B1EB50-0103-4357-B95A-C7CEF9BA6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16BC463-0B73-4012-AB96-718DD0A28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4009AE9C-3B9F-4BD1-A510-396953C37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于</a:t>
            </a:r>
            <a:r>
              <a:rPr lang="en-US" altLang="zh-CN" dirty="0" err="1"/>
              <a:t>AddIdentity</a:t>
            </a:r>
            <a:r>
              <a:rPr lang="zh-CN" altLang="en-US" dirty="0"/>
              <a:t>方法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FBF2BCC2-182F-4EB2-BC7A-88D25D45302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i="0" dirty="0">
                <a:solidFill>
                  <a:srgbClr val="000000"/>
                </a:solidFill>
                <a:effectLst/>
                <a:latin typeface="Helvetica Neue"/>
              </a:rPr>
              <a:t>namespace </a:t>
            </a:r>
            <a:r>
              <a:rPr lang="en-US" altLang="zh-CN" sz="2000" b="0" i="0" dirty="0" err="1">
                <a:solidFill>
                  <a:srgbClr val="000000"/>
                </a:solidFill>
                <a:effectLst/>
                <a:latin typeface="Helvetica Neue"/>
              </a:rPr>
              <a:t>Microsoft.Extensions.DependencyInjection</a:t>
            </a:r>
            <a:endParaRPr lang="en-US" altLang="zh-CN" sz="2000" dirty="0">
              <a:solidFill>
                <a:srgbClr val="000000"/>
              </a:solidFill>
              <a:latin typeface="Helvetica Neue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b="0" i="0" dirty="0">
                <a:solidFill>
                  <a:srgbClr val="000000"/>
                </a:solidFill>
                <a:effectLst/>
                <a:latin typeface="Helvetica Neue"/>
              </a:rPr>
              <a:t>在类</a:t>
            </a:r>
            <a:r>
              <a:rPr lang="en-US" altLang="zh-CN" sz="2000" b="0" i="0" dirty="0" err="1">
                <a:solidFill>
                  <a:srgbClr val="000000"/>
                </a:solidFill>
                <a:effectLst/>
                <a:latin typeface="Helvetica Neue"/>
              </a:rPr>
              <a:t>IdentityServiceCollectionExtensions</a:t>
            </a:r>
            <a:r>
              <a:rPr lang="zh-CN" altLang="en-US" sz="2000" b="0" i="0" dirty="0">
                <a:solidFill>
                  <a:srgbClr val="000000"/>
                </a:solidFill>
                <a:effectLst/>
                <a:latin typeface="Helvetica Neue"/>
              </a:rPr>
              <a:t>中</a:t>
            </a:r>
          </a:p>
          <a:p>
            <a:pPr algn="l">
              <a:lnSpc>
                <a:spcPct val="150000"/>
              </a:lnSpc>
            </a:pPr>
            <a:endParaRPr lang="en-US" altLang="zh-CN" sz="2000" b="1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lnSpc>
                <a:spcPct val="150000"/>
              </a:lnSpc>
            </a:pP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在</a:t>
            </a:r>
            <a:r>
              <a:rPr lang="en-US" altLang="zh-CN" sz="2000" b="1" i="0" dirty="0">
                <a:solidFill>
                  <a:srgbClr val="000000"/>
                </a:solidFill>
                <a:effectLst/>
                <a:latin typeface="Helvetica Neue"/>
              </a:rPr>
              <a:t>.NET Core</a:t>
            </a: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中</a:t>
            </a:r>
            <a:r>
              <a:rPr lang="en-US" altLang="zh-CN" sz="2000" b="1" i="0" dirty="0">
                <a:solidFill>
                  <a:srgbClr val="000000"/>
                </a:solidFill>
                <a:effectLst/>
                <a:latin typeface="Helvetica Neue"/>
              </a:rPr>
              <a:t>DI</a:t>
            </a: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的核心分为两个组件：</a:t>
            </a:r>
            <a:r>
              <a:rPr lang="en-US" altLang="zh-CN" sz="2000" b="1" i="0" dirty="0" err="1">
                <a:solidFill>
                  <a:srgbClr val="000000"/>
                </a:solidFill>
                <a:effectLst/>
                <a:latin typeface="Helvetica Neue"/>
              </a:rPr>
              <a:t>IServiceCollection</a:t>
            </a: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和 </a:t>
            </a:r>
            <a:r>
              <a:rPr lang="en-US" altLang="zh-CN" sz="2000" b="1" i="0" dirty="0" err="1">
                <a:solidFill>
                  <a:srgbClr val="000000"/>
                </a:solidFill>
                <a:effectLst/>
                <a:latin typeface="Helvetica Neue"/>
              </a:rPr>
              <a:t>IServiceProvider</a:t>
            </a: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。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i="0" dirty="0" err="1">
                <a:solidFill>
                  <a:srgbClr val="000000"/>
                </a:solidFill>
                <a:effectLst/>
                <a:latin typeface="Helvetica Neue"/>
              </a:rPr>
              <a:t>IServiceCollection</a:t>
            </a:r>
            <a:r>
              <a:rPr lang="en-US" altLang="zh-CN" sz="2000" b="0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zh-CN" altLang="en-US" sz="2000" b="0" i="0" dirty="0">
                <a:solidFill>
                  <a:srgbClr val="000000"/>
                </a:solidFill>
                <a:effectLst/>
                <a:latin typeface="Helvetica Neue"/>
              </a:rPr>
              <a:t>负责注册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i="0" dirty="0" err="1">
                <a:solidFill>
                  <a:srgbClr val="000000"/>
                </a:solidFill>
                <a:effectLst/>
                <a:latin typeface="Helvetica Neue"/>
              </a:rPr>
              <a:t>IServiceProvider</a:t>
            </a:r>
            <a:r>
              <a:rPr lang="en-US" altLang="zh-CN" sz="2000" b="0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zh-CN" altLang="en-US" sz="2000" b="0" i="0" dirty="0">
                <a:solidFill>
                  <a:srgbClr val="000000"/>
                </a:solidFill>
                <a:effectLst/>
                <a:latin typeface="Helvetica Neue"/>
              </a:rPr>
              <a:t>负责提供实例</a:t>
            </a:r>
            <a:endParaRPr lang="en-US" altLang="zh-CN" sz="20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000000"/>
              </a:solidFill>
              <a:latin typeface="Helvetica Neue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20153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196CC775-30C8-4176-9617-160C3FAF3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0EC2CFF-7F05-461A-9952-CBCCA7BF4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E225E2DF-2963-4B55-9FDE-A6F42C775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依赖注入</a:t>
            </a:r>
          </a:p>
        </p:txBody>
      </p:sp>
      <p:pic>
        <p:nvPicPr>
          <p:cNvPr id="9" name="内容占位符 8">
            <a:extLst>
              <a:ext uri="{FF2B5EF4-FFF2-40B4-BE49-F238E27FC236}">
                <a16:creationId xmlns:a16="http://schemas.microsoft.com/office/drawing/2014/main" id="{D095AB84-F3D4-460D-AEF0-57A777DB405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593580" y="1154009"/>
            <a:ext cx="7102620" cy="5035678"/>
          </a:xfrm>
        </p:spPr>
      </p:pic>
    </p:spTree>
    <p:extLst>
      <p:ext uri="{BB962C8B-B14F-4D97-AF65-F5344CB8AC3E}">
        <p14:creationId xmlns:p14="http://schemas.microsoft.com/office/powerpoint/2010/main" val="32482897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2C45890B-68C0-4FB0-9D52-0DABC10943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02083C8-12A4-43FB-BBB6-FB32B25B1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A559DC7B-2FF1-4167-A748-EAF891AB33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72F283F0-3B89-4E94-A8D6-630BA0FC97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C7D7516-B490-4B32-9892-C850DDAB9E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456" y="1212736"/>
            <a:ext cx="8503087" cy="443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76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35E0EBC6-9811-494D-8B80-CEB600F81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940F0F7-B7ED-4439-A8FD-1F7383465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AE1A8CDE-6237-4E07-BDD1-14C9E8439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7" name="内容占位符 6">
            <a:extLst>
              <a:ext uri="{FF2B5EF4-FFF2-40B4-BE49-F238E27FC236}">
                <a16:creationId xmlns:a16="http://schemas.microsoft.com/office/drawing/2014/main" id="{6A4AF089-97E9-4419-A7BB-9BEB2A9DD1E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502443" y="514351"/>
            <a:ext cx="5303470" cy="463226"/>
          </a:xfr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C20C2CD3-A955-4579-B95F-AF132FC2A115}"/>
              </a:ext>
            </a:extLst>
          </p:cNvPr>
          <p:cNvSpPr txBox="1"/>
          <p:nvPr/>
        </p:nvSpPr>
        <p:spPr>
          <a:xfrm>
            <a:off x="502443" y="1328286"/>
            <a:ext cx="833354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b="0" i="0" dirty="0">
                <a:solidFill>
                  <a:srgbClr val="000000"/>
                </a:solidFill>
                <a:effectLst/>
                <a:latin typeface="Helvetica Neue"/>
              </a:rPr>
              <a:t>Scoped</a:t>
            </a:r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：  在同一个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Helvetica Neue"/>
              </a:rPr>
              <a:t>Scope</a:t>
            </a:r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内只初始化一个实例 ，可以理解为（ 每一个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Helvetica Neue"/>
              </a:rPr>
              <a:t>request</a:t>
            </a:r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级别只创建一个实例，同一个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Helvetica Neue"/>
              </a:rPr>
              <a:t>http request</a:t>
            </a:r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会在一个 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Helvetica Neue"/>
              </a:rPr>
              <a:t>scope</a:t>
            </a:r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内）</a:t>
            </a:r>
            <a:endParaRPr lang="en-US" altLang="zh-CN" sz="18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dirty="0">
              <a:solidFill>
                <a:srgbClr val="000000"/>
              </a:solidFill>
              <a:latin typeface="Helvetica Neue"/>
            </a:endParaRPr>
          </a:p>
          <a:p>
            <a:r>
              <a:rPr lang="en-US" altLang="zh-CN" sz="1800" b="0" i="0" dirty="0" err="1">
                <a:solidFill>
                  <a:srgbClr val="000000"/>
                </a:solidFill>
                <a:effectLst/>
                <a:latin typeface="Helvetica Neue"/>
              </a:rPr>
              <a:t>TryAddScoped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是如果检测到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Helvetica Neue"/>
              </a:rPr>
              <a:t>DI</a:t>
            </a:r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容器内已经有了当前要注册的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Helvetica Neue"/>
              </a:rPr>
              <a:t>Interface</a:t>
            </a:r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或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Helvetica Neue"/>
              </a:rPr>
              <a:t>Service</a:t>
            </a:r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，就不会再次注册，没有才会注册。</a:t>
            </a:r>
            <a:endParaRPr lang="en-US" altLang="zh-CN" sz="18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就是说如果用户已经实现了这个接口并且注册到了容器内，那就使用自定义实现而非默认实现。</a:t>
            </a:r>
            <a:endParaRPr lang="en-US" altLang="zh-CN" sz="18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800" b="0" i="0" dirty="0">
                <a:solidFill>
                  <a:srgbClr val="000000"/>
                </a:solidFill>
                <a:effectLst/>
                <a:latin typeface="Helvetica Neue"/>
              </a:rPr>
              <a:t>这体现了面向对象的多态性，符合里氏替换原则。</a:t>
            </a:r>
            <a:endParaRPr lang="en-US" altLang="zh-CN" sz="18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dirty="0">
              <a:solidFill>
                <a:srgbClr val="000000"/>
              </a:solidFill>
              <a:latin typeface="Helvetica Neue"/>
            </a:endParaRPr>
          </a:p>
          <a:p>
            <a:endParaRPr lang="zh-CN" altLang="en-US" sz="18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71117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31303CB5-A637-4B0D-89E2-288B17C04C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D415F2E-C4A1-445E-B9C0-301956370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41AFDC79-8743-4788-B0A1-F387858836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简单实例：数据库内容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FAFB9B96-9746-4D0E-B8A4-C82EC60973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43" y="1249364"/>
            <a:ext cx="4879022" cy="5066769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E126DD11-DBD8-4839-8B25-C7B75CAD7D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4069" y="3162830"/>
            <a:ext cx="3671046" cy="265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9305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78E006AA-3763-48AE-9724-BCBADF2716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4467B4A-1CFA-4FC9-8628-2CA42FCA0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00556AD5-9876-44CC-AB37-603D61D1D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持久化数据：依赖倒置原则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D2CB8FEF-6D31-4170-8E1D-193DD540904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QueryableRole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QueryableUser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RoleClaim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Role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AuthenticationToken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Claim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Email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Lockout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Login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Password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PhoneNumber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Role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SecurityStamp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000000"/>
                </a:solidFill>
                <a:effectLst/>
                <a:latin typeface="Helvetica Neue"/>
              </a:rPr>
              <a:t>IUserTwoFactorStore</a:t>
            </a:r>
            <a:endParaRPr lang="en-US" altLang="zh-CN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800105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173DE469-1F8E-4578-B661-E2E355FAA1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FE00902-E522-4C2A-9373-80225BC0A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F902B5AA-5B0F-4777-B8FA-830D814AE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1" i="0" dirty="0">
                <a:solidFill>
                  <a:srgbClr val="333333"/>
                </a:solidFill>
                <a:effectLst/>
                <a:latin typeface="Helvetica Neue"/>
              </a:rPr>
              <a:t>开闭原则（</a:t>
            </a:r>
            <a:r>
              <a:rPr lang="en-US" altLang="zh-CN" b="1" i="0" dirty="0">
                <a:solidFill>
                  <a:srgbClr val="333333"/>
                </a:solidFill>
                <a:effectLst/>
                <a:latin typeface="Helvetica Neue"/>
              </a:rPr>
              <a:t>Open Close Principle</a:t>
            </a:r>
            <a:r>
              <a:rPr lang="zh-CN" altLang="en-US" b="1" i="0" dirty="0">
                <a:solidFill>
                  <a:srgbClr val="333333"/>
                </a:solidFill>
                <a:effectLst/>
                <a:latin typeface="Helvetica Neue"/>
              </a:rPr>
              <a:t>）</a:t>
            </a:r>
            <a:endParaRPr lang="zh-CN" altLang="en-US" dirty="0"/>
          </a:p>
        </p:txBody>
      </p:sp>
      <p:pic>
        <p:nvPicPr>
          <p:cNvPr id="7" name="内容占位符 6">
            <a:extLst>
              <a:ext uri="{FF2B5EF4-FFF2-40B4-BE49-F238E27FC236}">
                <a16:creationId xmlns:a16="http://schemas.microsoft.com/office/drawing/2014/main" id="{DA341942-49C2-4DD3-93EC-6C77788107F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627475" y="1221820"/>
            <a:ext cx="4553184" cy="997001"/>
          </a:xfr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CF7D497-CB56-4C0C-8277-06E5A75CC0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475" y="2994003"/>
            <a:ext cx="7017111" cy="768389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8B1925E3-C896-4EA8-9003-D88C28F474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475" y="4696893"/>
            <a:ext cx="7499735" cy="768389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F90E7F13-3D39-43B3-8D71-E18206BA71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4067" y="2202575"/>
            <a:ext cx="157074" cy="789297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78FFDBEF-1E49-4AC1-9A3A-9392E21AC4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43335" y="3760261"/>
            <a:ext cx="277032" cy="936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5382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AA988530-00CC-4F93-A48B-6D9A99C548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FA0EC8F-263C-4D42-BAFE-CF58E1B75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09E6363E-9463-4828-94D0-0BBE545B3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基类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B6F9F379-E016-4DAD-B557-827A09DE15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228F655-9942-45DB-A672-C70876DDE0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766" y="1012562"/>
            <a:ext cx="8325278" cy="5124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687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SP.NET Core Identity</a:t>
            </a:r>
            <a:endParaRPr lang="zh-CN" altLang="en-US" dirty="0"/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C4FAB166-474D-4D1C-B31B-08B36E0ADB7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444" y="1187450"/>
            <a:ext cx="3244056" cy="4949825"/>
          </a:xfrm>
        </p:spPr>
        <p:txBody>
          <a:bodyPr/>
          <a:lstStyle/>
          <a:p>
            <a:r>
              <a:rPr lang="fr-FR" altLang="zh-CN" sz="1800" dirty="0"/>
              <a:t>ASP.NET Core </a:t>
            </a:r>
            <a:r>
              <a:rPr lang="zh-CN" altLang="fr-FR" sz="1800" dirty="0"/>
              <a:t>是一个由微软和社区开发的跨平台的高性能开源</a:t>
            </a:r>
            <a:r>
              <a:rPr lang="fr-FR" altLang="zh-CN" sz="1800" dirty="0"/>
              <a:t>Web</a:t>
            </a:r>
            <a:r>
              <a:rPr lang="zh-CN" altLang="fr-FR" sz="1800" dirty="0"/>
              <a:t>框架</a:t>
            </a:r>
            <a:r>
              <a:rPr lang="zh-CN" altLang="en-US" sz="1800" dirty="0"/>
              <a:t>。</a:t>
            </a:r>
            <a:endParaRPr lang="en-US" altLang="zh-CN" sz="1800" dirty="0"/>
          </a:p>
          <a:p>
            <a:endParaRPr lang="zh-CN" altLang="en-US" sz="1800" dirty="0"/>
          </a:p>
          <a:p>
            <a:r>
              <a:rPr lang="en-US" altLang="zh-CN" sz="1800" dirty="0"/>
              <a:t>Identity</a:t>
            </a:r>
            <a:r>
              <a:rPr lang="zh-CN" altLang="en-US" sz="1800" dirty="0"/>
              <a:t>是将登录功能添加到 </a:t>
            </a:r>
            <a:r>
              <a:rPr lang="en-US" altLang="zh-CN" sz="1800" dirty="0"/>
              <a:t>ASP.NET Core </a:t>
            </a:r>
            <a:r>
              <a:rPr lang="zh-CN" altLang="en-US" sz="1800" dirty="0"/>
              <a:t>应用的成员资格系统。</a:t>
            </a:r>
            <a:endParaRPr lang="en-US" altLang="zh-CN" sz="1800" dirty="0"/>
          </a:p>
          <a:p>
            <a:endParaRPr lang="en-US" altLang="zh-CN" sz="18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sz="1800" b="0" i="0" dirty="0">
                <a:effectLst/>
                <a:latin typeface="-apple-system"/>
              </a:rPr>
              <a:t>它是一个框架，不是一个完整的系统，你也可以认为是一个中间件；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sz="1800" b="0" i="0" dirty="0">
                <a:effectLst/>
                <a:latin typeface="-apple-system"/>
              </a:rPr>
              <a:t>它面向的是开发人员，不是业务人员和用户；</a:t>
            </a:r>
          </a:p>
          <a:p>
            <a:endParaRPr lang="en-US" altLang="zh-CN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1756BE5-DFB0-4272-99D9-F1133B6871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925" r="2130" b="2730"/>
          <a:stretch/>
        </p:blipFill>
        <p:spPr>
          <a:xfrm>
            <a:off x="4895323" y="1397000"/>
            <a:ext cx="3569228" cy="34734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91681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D802B8F0-24EC-45C8-B48E-CFD6D07D3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0BF444C-B8E8-429B-9D3F-E6A59A9CE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46D433B6-1AD8-47CD-B415-95A10A212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派生</a:t>
            </a:r>
          </a:p>
        </p:txBody>
      </p:sp>
      <p:pic>
        <p:nvPicPr>
          <p:cNvPr id="7" name="内容占位符 6">
            <a:extLst>
              <a:ext uri="{FF2B5EF4-FFF2-40B4-BE49-F238E27FC236}">
                <a16:creationId xmlns:a16="http://schemas.microsoft.com/office/drawing/2014/main" id="{531C55D7-E30D-47C9-9A8F-95004F683D6A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502443" y="1214338"/>
            <a:ext cx="7617998" cy="4119662"/>
          </a:xfrm>
        </p:spPr>
      </p:pic>
    </p:spTree>
    <p:extLst>
      <p:ext uri="{BB962C8B-B14F-4D97-AF65-F5344CB8AC3E}">
        <p14:creationId xmlns:p14="http://schemas.microsoft.com/office/powerpoint/2010/main" val="10872256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1B89B764-855A-4236-ADCE-C57D46F2F3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3F8D9C9-CC43-49A8-A60D-5E732D388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A4F97573-DB03-47A0-83EA-59B3E5CE6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356E0797-96E8-4534-A6A5-726189C33A4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l">
              <a:lnSpc>
                <a:spcPct val="150000"/>
              </a:lnSpc>
            </a:pP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在</a:t>
            </a:r>
            <a:r>
              <a:rPr lang="en-US" altLang="zh-CN" sz="2000" b="1" i="0" dirty="0">
                <a:solidFill>
                  <a:srgbClr val="000000"/>
                </a:solidFill>
                <a:effectLst/>
                <a:latin typeface="Helvetica Neue"/>
              </a:rPr>
              <a:t>.NET Core</a:t>
            </a: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中</a:t>
            </a:r>
            <a:r>
              <a:rPr lang="en-US" altLang="zh-CN" sz="2000" b="1" i="0" dirty="0">
                <a:solidFill>
                  <a:srgbClr val="000000"/>
                </a:solidFill>
                <a:effectLst/>
                <a:latin typeface="Helvetica Neue"/>
              </a:rPr>
              <a:t>DI</a:t>
            </a: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的核心分为两个组件：</a:t>
            </a:r>
            <a:r>
              <a:rPr lang="en-US" altLang="zh-CN" sz="2000" b="1" i="0" dirty="0" err="1">
                <a:solidFill>
                  <a:srgbClr val="000000"/>
                </a:solidFill>
                <a:effectLst/>
                <a:latin typeface="Helvetica Neue"/>
              </a:rPr>
              <a:t>IServiceCollection</a:t>
            </a: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和 </a:t>
            </a:r>
            <a:r>
              <a:rPr lang="en-US" altLang="zh-CN" sz="2000" b="1" i="0" dirty="0" err="1">
                <a:solidFill>
                  <a:srgbClr val="000000"/>
                </a:solidFill>
                <a:effectLst/>
                <a:latin typeface="Helvetica Neue"/>
              </a:rPr>
              <a:t>IServiceProvider</a:t>
            </a: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。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i="0" dirty="0" err="1">
                <a:solidFill>
                  <a:srgbClr val="000000"/>
                </a:solidFill>
                <a:effectLst/>
                <a:latin typeface="Helvetica Neue"/>
              </a:rPr>
              <a:t>IServiceCollection</a:t>
            </a:r>
            <a:r>
              <a:rPr lang="en-US" altLang="zh-CN" sz="2000" b="0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zh-CN" altLang="en-US" sz="2000" b="0" i="0" dirty="0">
                <a:solidFill>
                  <a:srgbClr val="000000"/>
                </a:solidFill>
                <a:effectLst/>
                <a:latin typeface="Helvetica Neue"/>
              </a:rPr>
              <a:t>负责注册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b="0" i="0" dirty="0" err="1">
                <a:solidFill>
                  <a:srgbClr val="000000"/>
                </a:solidFill>
                <a:effectLst/>
                <a:latin typeface="Helvetica Neue"/>
              </a:rPr>
              <a:t>IServiceProvider</a:t>
            </a:r>
            <a:r>
              <a:rPr lang="en-US" altLang="zh-CN" sz="2000" b="0" i="0" dirty="0">
                <a:solidFill>
                  <a:srgbClr val="000000"/>
                </a:solidFill>
                <a:effectLst/>
                <a:latin typeface="Helvetica Neue"/>
              </a:rPr>
              <a:t> </a:t>
            </a:r>
            <a:r>
              <a:rPr lang="zh-CN" altLang="en-US" sz="2000" b="0" i="0" dirty="0">
                <a:solidFill>
                  <a:srgbClr val="000000"/>
                </a:solidFill>
                <a:effectLst/>
                <a:latin typeface="Helvetica Neue"/>
              </a:rPr>
              <a:t>负责提供实例</a:t>
            </a:r>
          </a:p>
          <a:p>
            <a:pPr algn="l">
              <a:lnSpc>
                <a:spcPct val="150000"/>
              </a:lnSpc>
            </a:pPr>
            <a:r>
              <a:rPr lang="zh-CN" altLang="en-US" sz="2000" b="1" i="0" dirty="0">
                <a:solidFill>
                  <a:srgbClr val="000000"/>
                </a:solidFill>
                <a:effectLst/>
                <a:latin typeface="Helvetica Neue"/>
              </a:rPr>
              <a:t>容器负责两件事情：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b="0" i="0" dirty="0">
                <a:solidFill>
                  <a:srgbClr val="000000"/>
                </a:solidFill>
                <a:effectLst/>
                <a:latin typeface="Helvetica Neue"/>
              </a:rPr>
              <a:t>绑定服务与实例之间的关系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b="0" i="0" dirty="0">
                <a:solidFill>
                  <a:srgbClr val="000000"/>
                </a:solidFill>
                <a:effectLst/>
                <a:latin typeface="Helvetica Neue"/>
              </a:rPr>
              <a:t>获取实例，并对实例进行管理（创建与销毁）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8094666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r>
              <a:rPr lang="zh-CN" altLang="en-US" dirty="0"/>
              <a:t>！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2021/1/15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陈飞羽</a:t>
            </a:r>
            <a:endParaRPr lang="en-US" altLang="zh-CN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1DFB9572-8CC2-48F8-A876-F1CBD6633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6AA7E03-BD11-4B31-BBC9-4552F068B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E286BE2F-9AF5-4F14-AFC6-DC94EACC39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SP .NET Core Identity</a:t>
            </a:r>
            <a:r>
              <a:rPr lang="zh-CN" altLang="en-US" dirty="0"/>
              <a:t>功能特性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914B3D27-E019-42DC-898E-57AD0D2331F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altLang="zh-CN" dirty="0"/>
          </a:p>
          <a:p>
            <a:pPr algn="l"/>
            <a: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  <a:t>能够对用户资料（</a:t>
            </a:r>
            <a:r>
              <a:rPr lang="en-US" altLang="zh-CN" b="1" i="0" dirty="0">
                <a:solidFill>
                  <a:srgbClr val="000000"/>
                </a:solidFill>
                <a:effectLst/>
                <a:latin typeface="Helvetica Neue"/>
              </a:rPr>
              <a:t>User Profile</a:t>
            </a:r>
            <a: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  <a:t>）很方便的扩展</a:t>
            </a:r>
            <a:endParaRPr lang="zh-CN" altLang="en-US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可以针对用户资料进行扩展。（是否使用邮件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/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电话号码认证等）</a:t>
            </a:r>
          </a:p>
          <a:p>
            <a:pPr algn="l"/>
            <a: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  <a:t>持久化</a:t>
            </a:r>
            <a:endParaRPr lang="zh-CN" altLang="en-US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使用任意的关系型数据库，从</a:t>
            </a:r>
            <a:r>
              <a:rPr lang="en-US" altLang="zh-CN" sz="1600" b="0" i="0" dirty="0" err="1">
                <a:solidFill>
                  <a:srgbClr val="212529"/>
                </a:solidFill>
                <a:effectLst/>
                <a:latin typeface="-apple-system"/>
              </a:rPr>
              <a:t>sqllite</a:t>
            </a: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到</a:t>
            </a:r>
            <a:r>
              <a:rPr lang="en-US" altLang="zh-CN" sz="1600" b="0" i="0" dirty="0" err="1">
                <a:solidFill>
                  <a:srgbClr val="212529"/>
                </a:solidFill>
                <a:effectLst/>
                <a:latin typeface="-apple-system"/>
              </a:rPr>
              <a:t>mysql</a:t>
            </a: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、</a:t>
            </a:r>
            <a:r>
              <a:rPr lang="en-US" altLang="zh-CN" sz="1600" b="0" i="0" dirty="0" err="1">
                <a:solidFill>
                  <a:srgbClr val="212529"/>
                </a:solidFill>
                <a:effectLst/>
                <a:latin typeface="-apple-system"/>
              </a:rPr>
              <a:t>sqlserver</a:t>
            </a: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等等，由</a:t>
            </a:r>
            <a:r>
              <a:rPr lang="en-US" altLang="zh-CN" sz="1600" b="0" i="0" dirty="0">
                <a:solidFill>
                  <a:srgbClr val="212529"/>
                </a:solidFill>
                <a:effectLst/>
                <a:latin typeface="-apple-system"/>
              </a:rPr>
              <a:t>Entity </a:t>
            </a:r>
            <a:r>
              <a:rPr lang="en-US" altLang="zh-CN" sz="1600" b="0" i="0" dirty="0" err="1">
                <a:solidFill>
                  <a:srgbClr val="212529"/>
                </a:solidFill>
                <a:effectLst/>
                <a:latin typeface="-apple-system"/>
              </a:rPr>
              <a:t>Framwork</a:t>
            </a:r>
            <a:r>
              <a:rPr lang="en-US" altLang="zh-CN" sz="1600" b="0" i="0" dirty="0">
                <a:solidFill>
                  <a:srgbClr val="212529"/>
                </a:solidFill>
                <a:effectLst/>
                <a:latin typeface="-apple-system"/>
              </a:rPr>
              <a:t> </a:t>
            </a:r>
            <a:r>
              <a:rPr lang="zh-CN" altLang="en-US" sz="1600" b="0" i="0" dirty="0">
                <a:solidFill>
                  <a:srgbClr val="212529"/>
                </a:solidFill>
                <a:effectLst/>
                <a:latin typeface="-apple-system"/>
              </a:rPr>
              <a:t>支持</a:t>
            </a:r>
            <a:endParaRPr lang="en-US" altLang="zh-CN" sz="1600" b="0" i="0" dirty="0">
              <a:solidFill>
                <a:srgbClr val="212529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  <a:t>角色机制</a:t>
            </a:r>
            <a:endParaRPr lang="zh-CN" altLang="en-US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提供角色机制，可以使用不同的角色来进行不同权限的限制，可以轻松的创建角色，向用户添加角色等。</a:t>
            </a:r>
          </a:p>
          <a:p>
            <a:r>
              <a:rPr lang="zh-CN" altLang="en-US" sz="1600" b="1" i="0" dirty="0">
                <a:solidFill>
                  <a:srgbClr val="212529"/>
                </a:solidFill>
                <a:effectLst/>
                <a:latin typeface="-apple-system"/>
              </a:rPr>
              <a:t>基于声明的认证模式</a:t>
            </a:r>
            <a:r>
              <a:rPr lang="en-US" altLang="zh-CN" sz="1600" b="1" i="0" dirty="0">
                <a:solidFill>
                  <a:srgbClr val="212529"/>
                </a:solidFill>
                <a:effectLst/>
                <a:latin typeface="-apple-system"/>
              </a:rPr>
              <a:t>Claims Based Authentication</a:t>
            </a:r>
            <a:endParaRPr lang="zh-CN" altLang="en-US" sz="1600" b="1" i="0" dirty="0">
              <a:solidFill>
                <a:srgbClr val="212529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需要支持基于 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Claims 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的身份验证机制，其中用户身份是一组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Claims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，一组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Claims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可以比角色拥有更强的表现力。</a:t>
            </a:r>
          </a:p>
          <a:p>
            <a:pPr algn="l"/>
            <a:r>
              <a:rPr lang="zh-CN" altLang="en-US" b="1" i="0" dirty="0">
                <a:solidFill>
                  <a:srgbClr val="000000"/>
                </a:solidFill>
                <a:effectLst/>
                <a:latin typeface="Helvetica Neue"/>
              </a:rPr>
              <a:t>第三方社交登陆</a:t>
            </a:r>
            <a:endParaRPr lang="zh-CN" altLang="en-US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可以很方便的使用第三方登入，比如 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Microsoft 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账户，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Facebook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， 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Twitter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，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Helvetica Neue"/>
              </a:rPr>
              <a:t>Google</a:t>
            </a:r>
            <a:r>
              <a:rPr lang="zh-CN" altLang="en-US" b="0" i="0" dirty="0">
                <a:solidFill>
                  <a:srgbClr val="000000"/>
                </a:solidFill>
                <a:effectLst/>
                <a:latin typeface="Helvetica Neue"/>
              </a:rPr>
              <a:t>等，并且存储用户特定的数据。</a:t>
            </a:r>
          </a:p>
        </p:txBody>
      </p:sp>
    </p:spTree>
    <p:extLst>
      <p:ext uri="{BB962C8B-B14F-4D97-AF65-F5344CB8AC3E}">
        <p14:creationId xmlns:p14="http://schemas.microsoft.com/office/powerpoint/2010/main" val="4142663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2CC51F7C-DE9A-4D51-AD66-6AFFDE2CB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7745A1C-FBBA-4F63-8B21-039012623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EEF65CD4-1352-4ACB-AFBF-CDD69B4BC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SP .NET Core Identity</a:t>
            </a:r>
            <a:endParaRPr lang="zh-CN" altLang="en-US" dirty="0"/>
          </a:p>
        </p:txBody>
      </p:sp>
      <p:graphicFrame>
        <p:nvGraphicFramePr>
          <p:cNvPr id="12" name="内容占位符 11">
            <a:extLst>
              <a:ext uri="{FF2B5EF4-FFF2-40B4-BE49-F238E27FC236}">
                <a16:creationId xmlns:a16="http://schemas.microsoft.com/office/drawing/2014/main" id="{FEE9FB3B-12B0-4A14-93FF-0EF60AC2FD57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338557404"/>
              </p:ext>
            </p:extLst>
          </p:nvPr>
        </p:nvGraphicFramePr>
        <p:xfrm>
          <a:off x="503238" y="1346200"/>
          <a:ext cx="8137127" cy="4791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837970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E3B064-2789-4945-B855-921A0A93B9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600" dirty="0"/>
              <a:t>重要概念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B8FAC7F-66B7-4C03-B385-03172CA80B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/>
              <a:t>三个实体</a:t>
            </a:r>
            <a:endParaRPr lang="en-US" altLang="zh-CN" sz="2000" dirty="0"/>
          </a:p>
          <a:p>
            <a:r>
              <a:rPr lang="zh-CN" altLang="en-US" sz="2000" dirty="0"/>
              <a:t>两个过程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2D95CAF-D5BB-47FD-815D-CA67C6E02080}"/>
              </a:ext>
            </a:extLst>
          </p:cNvPr>
          <p:cNvSpPr txBox="1"/>
          <p:nvPr/>
        </p:nvSpPr>
        <p:spPr>
          <a:xfrm>
            <a:off x="1055566" y="3045850"/>
            <a:ext cx="840967" cy="7663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75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z="1350" spc="75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z="1350" spc="75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03395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DDC153E2-0CE4-4AF8-A7AA-E9A94A1084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4DAD97A-152C-4BF8-A40A-73843647CE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A0692B4B-9D8D-4DF6-B861-AB2BAE4D29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个实体概念：</a:t>
            </a:r>
            <a:r>
              <a:rPr lang="en-US" altLang="zh-CN" dirty="0" err="1"/>
              <a:t>Claims,ClaimsIdentity,ClaimsPrincipal</a:t>
            </a:r>
            <a:endParaRPr lang="zh-CN" altLang="en-US" dirty="0"/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EDF675AF-CB8D-41AE-81D3-C2A6D25A633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443" y="1206500"/>
            <a:ext cx="8218223" cy="5006975"/>
          </a:xfrm>
        </p:spPr>
        <p:txBody>
          <a:bodyPr/>
          <a:lstStyle/>
          <a:p>
            <a:pPr marL="0" indent="0">
              <a:buNone/>
            </a:pPr>
            <a:endParaRPr lang="en-US" altLang="zh-CN" sz="1800" dirty="0"/>
          </a:p>
          <a:p>
            <a:endParaRPr lang="zh-CN" altLang="en-US" dirty="0"/>
          </a:p>
        </p:txBody>
      </p:sp>
      <p:graphicFrame>
        <p:nvGraphicFramePr>
          <p:cNvPr id="6" name="图示 5">
            <a:extLst>
              <a:ext uri="{FF2B5EF4-FFF2-40B4-BE49-F238E27FC236}">
                <a16:creationId xmlns:a16="http://schemas.microsoft.com/office/drawing/2014/main" id="{5649D388-6B83-4D92-9F85-8850A45B11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5365078"/>
              </p:ext>
            </p:extLst>
          </p:nvPr>
        </p:nvGraphicFramePr>
        <p:xfrm>
          <a:off x="502443" y="1055691"/>
          <a:ext cx="8328290" cy="53112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1">
            <a:extLst>
              <a:ext uri="{FF2B5EF4-FFF2-40B4-BE49-F238E27FC236}">
                <a16:creationId xmlns:a16="http://schemas.microsoft.com/office/drawing/2014/main" id="{83FDA049-61F2-4892-A42B-F173F8FD84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334" y="1642231"/>
            <a:ext cx="2904066" cy="261610"/>
          </a:xfrm>
          <a:prstGeom prst="rect">
            <a:avLst/>
          </a:prstGeom>
          <a:solidFill>
            <a:srgbClr val="E9ECE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4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SFMono-Regular"/>
              </a:rPr>
              <a:t>System</a:t>
            </a:r>
            <a:r>
              <a:rPr kumimoji="0" lang="zh-CN" altLang="zh-CN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SFMono-Regular"/>
              </a:rPr>
              <a:t>.Security.Claims</a:t>
            </a:r>
            <a:r>
              <a:rPr kumimoji="0" lang="zh-CN" altLang="zh-CN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00542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1C21F609-3338-4623-AE22-B41CE9C081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F1364BA-B681-48AB-B41C-083400766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E85F0E38-959A-4483-B0B1-4C278223B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112A7057-B382-4A17-9319-49D1E49558F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3B917EE-D930-48C5-90C6-CDB9A7EBB1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109" y="193067"/>
            <a:ext cx="7085598" cy="169359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2C0420C3-6852-47C8-B5E5-17BF5D3A1C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109" y="2079726"/>
            <a:ext cx="7136066" cy="152974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096898F4-AAA0-4E8A-8EC6-0D1D676C65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108" y="3802537"/>
            <a:ext cx="7236267" cy="1693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1037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0BE99C5C-40FB-4D42-8EBF-50506A326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DA17D65-8848-44E9-8DE4-732E58E6E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FFBDFEBE-EC50-4C38-BE6B-DB311E020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261" y="3"/>
            <a:ext cx="8236105" cy="962524"/>
          </a:xfrm>
        </p:spPr>
        <p:txBody>
          <a:bodyPr/>
          <a:lstStyle/>
          <a:p>
            <a:r>
              <a:rPr lang="zh-CN" altLang="en-US" dirty="0"/>
              <a:t>两个过程：</a:t>
            </a:r>
            <a:r>
              <a:rPr lang="zh-CN" altLang="en-US" i="0" dirty="0">
                <a:solidFill>
                  <a:srgbClr val="212529"/>
                </a:solidFill>
                <a:effectLst/>
                <a:latin typeface="-apple-system"/>
              </a:rPr>
              <a:t>认证（</a:t>
            </a:r>
            <a:r>
              <a:rPr lang="en-US" altLang="zh-CN" i="0" dirty="0">
                <a:solidFill>
                  <a:srgbClr val="212529"/>
                </a:solidFill>
                <a:effectLst/>
                <a:latin typeface="-apple-system"/>
              </a:rPr>
              <a:t>Authentication</a:t>
            </a:r>
            <a:r>
              <a:rPr lang="zh-CN" altLang="en-US" i="0" dirty="0">
                <a:solidFill>
                  <a:srgbClr val="212529"/>
                </a:solidFill>
                <a:effectLst/>
                <a:latin typeface="-apple-system"/>
              </a:rPr>
              <a:t>） 和授权（</a:t>
            </a:r>
            <a:r>
              <a:rPr lang="en-US" altLang="zh-CN" i="0" dirty="0">
                <a:solidFill>
                  <a:srgbClr val="212529"/>
                </a:solidFill>
                <a:effectLst/>
                <a:latin typeface="-apple-system"/>
              </a:rPr>
              <a:t>Authorization</a:t>
            </a:r>
            <a:r>
              <a:rPr lang="zh-CN" altLang="en-US" b="0" i="0" dirty="0">
                <a:solidFill>
                  <a:srgbClr val="212529"/>
                </a:solidFill>
                <a:effectLst/>
                <a:latin typeface="-apple-system"/>
              </a:rPr>
              <a:t>）</a:t>
            </a:r>
            <a:endParaRPr lang="zh-CN" altLang="en-US" dirty="0"/>
          </a:p>
        </p:txBody>
      </p:sp>
      <p:graphicFrame>
        <p:nvGraphicFramePr>
          <p:cNvPr id="13" name="内容占位符 12">
            <a:extLst>
              <a:ext uri="{FF2B5EF4-FFF2-40B4-BE49-F238E27FC236}">
                <a16:creationId xmlns:a16="http://schemas.microsoft.com/office/drawing/2014/main" id="{D68F05E4-FEA4-45BF-A3C0-D89B93FD6FCA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477564300"/>
              </p:ext>
            </p:extLst>
          </p:nvPr>
        </p:nvGraphicFramePr>
        <p:xfrm>
          <a:off x="503238" y="1130300"/>
          <a:ext cx="8137525" cy="38057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31793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1063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A5A8"/>
      </a:accent1>
      <a:accent2>
        <a:srgbClr val="76B7B1"/>
      </a:accent2>
      <a:accent3>
        <a:srgbClr val="78CFC3"/>
      </a:accent3>
      <a:accent4>
        <a:srgbClr val="08CEAC"/>
      </a:accent4>
      <a:accent5>
        <a:srgbClr val="307C89"/>
      </a:accent5>
      <a:accent6>
        <a:srgbClr val="07586C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A5A8"/>
    </a:accent1>
    <a:accent2>
      <a:srgbClr val="76B7B1"/>
    </a:accent2>
    <a:accent3>
      <a:srgbClr val="78CFC3"/>
    </a:accent3>
    <a:accent4>
      <a:srgbClr val="08CEAC"/>
    </a:accent4>
    <a:accent5>
      <a:srgbClr val="307C89"/>
    </a:accent5>
    <a:accent6>
      <a:srgbClr val="07586C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A5A8"/>
    </a:accent1>
    <a:accent2>
      <a:srgbClr val="76B7B1"/>
    </a:accent2>
    <a:accent3>
      <a:srgbClr val="78CFC3"/>
    </a:accent3>
    <a:accent4>
      <a:srgbClr val="08CEAC"/>
    </a:accent4>
    <a:accent5>
      <a:srgbClr val="307C89"/>
    </a:accent5>
    <a:accent6>
      <a:srgbClr val="07586C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A5A8"/>
    </a:accent1>
    <a:accent2>
      <a:srgbClr val="76B7B1"/>
    </a:accent2>
    <a:accent3>
      <a:srgbClr val="78CFC3"/>
    </a:accent3>
    <a:accent4>
      <a:srgbClr val="08CEAC"/>
    </a:accent4>
    <a:accent5>
      <a:srgbClr val="307C89"/>
    </a:accent5>
    <a:accent6>
      <a:srgbClr val="07586C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616</Words>
  <Application>Microsoft Office PowerPoint</Application>
  <PresentationFormat>全屏显示(4:3)</PresentationFormat>
  <Paragraphs>210</Paragraphs>
  <Slides>32</Slides>
  <Notes>5</Notes>
  <HiddenSlides>7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41" baseType="lpstr">
      <vt:lpstr>-apple-system</vt:lpstr>
      <vt:lpstr>Arial Unicode MS</vt:lpstr>
      <vt:lpstr>Helvetica Neue</vt:lpstr>
      <vt:lpstr>Arial</vt:lpstr>
      <vt:lpstr>Calibri</vt:lpstr>
      <vt:lpstr>Impact</vt:lpstr>
      <vt:lpstr>Segoe UI</vt:lpstr>
      <vt:lpstr>主题5</vt:lpstr>
      <vt:lpstr>think-cell Slide</vt:lpstr>
      <vt:lpstr>ASP .NET Core Identity</vt:lpstr>
      <vt:lpstr>ASP.NET Core Identity 简介</vt:lpstr>
      <vt:lpstr>ASP.NET Core Identity</vt:lpstr>
      <vt:lpstr>ASP .NET Core Identity功能特性</vt:lpstr>
      <vt:lpstr>ASP .NET Core Identity</vt:lpstr>
      <vt:lpstr>重要概念</vt:lpstr>
      <vt:lpstr>三个实体概念：Claims,ClaimsIdentity,ClaimsPrincipal</vt:lpstr>
      <vt:lpstr>PowerPoint 演示文稿</vt:lpstr>
      <vt:lpstr>两个过程：认证（Authentication） 和授权（Authorization）</vt:lpstr>
      <vt:lpstr>Identity 的功能范围</vt:lpstr>
      <vt:lpstr>简单实例</vt:lpstr>
      <vt:lpstr>Identity 在sign in中的作用</vt:lpstr>
      <vt:lpstr>PowerPoint 演示文稿</vt:lpstr>
      <vt:lpstr>设计模式分析</vt:lpstr>
      <vt:lpstr>设计模式： Builder Pattern</vt:lpstr>
      <vt:lpstr>为什么要使用Builder模式？</vt:lpstr>
      <vt:lpstr>简略版builder模式</vt:lpstr>
      <vt:lpstr>为什么使用依赖注入？</vt:lpstr>
      <vt:lpstr>直接例化存在的问题</vt:lpstr>
      <vt:lpstr>解决：依赖关系注入</vt:lpstr>
      <vt:lpstr>简单实例：配置——依赖注入</vt:lpstr>
      <vt:lpstr>关于AddIdentity方法</vt:lpstr>
      <vt:lpstr>依赖注入</vt:lpstr>
      <vt:lpstr>PowerPoint 演示文稿</vt:lpstr>
      <vt:lpstr>PowerPoint 演示文稿</vt:lpstr>
      <vt:lpstr>简单实例：数据库内容</vt:lpstr>
      <vt:lpstr>持久化数据：依赖倒置原则</vt:lpstr>
      <vt:lpstr>开闭原则（Open Close Principle）</vt:lpstr>
      <vt:lpstr>基类</vt:lpstr>
      <vt:lpstr>派生</vt:lpstr>
      <vt:lpstr>PowerPoint 演示文稿</vt:lpstr>
      <vt:lpstr>Thanks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飞羽 陈</cp:lastModifiedBy>
  <cp:revision>110</cp:revision>
  <cp:lastPrinted>2018-08-02T16:00:00Z</cp:lastPrinted>
  <dcterms:created xsi:type="dcterms:W3CDTF">2018-08-02T16:00:00Z</dcterms:created>
  <dcterms:modified xsi:type="dcterms:W3CDTF">2021-01-15T07:0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